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843" r:id="rId2"/>
    <p:sldId id="886" r:id="rId3"/>
    <p:sldId id="1071" r:id="rId4"/>
    <p:sldId id="1087" r:id="rId5"/>
    <p:sldId id="1089" r:id="rId6"/>
    <p:sldId id="1088" r:id="rId7"/>
    <p:sldId id="1078" r:id="rId8"/>
    <p:sldId id="1076" r:id="rId9"/>
    <p:sldId id="1081" r:id="rId10"/>
    <p:sldId id="1080" r:id="rId11"/>
    <p:sldId id="1091" r:id="rId12"/>
    <p:sldId id="1092" r:id="rId13"/>
    <p:sldId id="1093" r:id="rId14"/>
    <p:sldId id="1094" r:id="rId15"/>
    <p:sldId id="1095" r:id="rId16"/>
  </p:sldIdLst>
  <p:sldSz cx="9144000" cy="6858000" type="screen4x3"/>
  <p:notesSz cx="9906000" cy="6883400"/>
  <p:defaultTextStyle>
    <a:defPPr>
      <a:defRPr lang="en-GB"/>
    </a:defPPr>
    <a:lvl1pPr algn="l" rtl="0" fontAlgn="base">
      <a:spcBef>
        <a:spcPct val="20000"/>
      </a:spcBef>
      <a:spcAft>
        <a:spcPct val="0"/>
      </a:spcAft>
      <a:buClr>
        <a:schemeClr val="tx2"/>
      </a:buClr>
      <a:buSzPct val="120000"/>
      <a:buFont typeface="Wingdings" pitchFamily="2" charset="2"/>
      <a:defRPr sz="1000" kern="1200">
        <a:solidFill>
          <a:schemeClr val="tx1"/>
        </a:solidFill>
        <a:latin typeface="Credit Suisse Type Light" pitchFamily="34" charset="0"/>
        <a:ea typeface="+mn-ea"/>
        <a:cs typeface="+mn-cs"/>
      </a:defRPr>
    </a:lvl1pPr>
    <a:lvl2pPr marL="457200" algn="l" rtl="0" fontAlgn="base">
      <a:spcBef>
        <a:spcPct val="20000"/>
      </a:spcBef>
      <a:spcAft>
        <a:spcPct val="0"/>
      </a:spcAft>
      <a:buClr>
        <a:schemeClr val="tx2"/>
      </a:buClr>
      <a:buSzPct val="120000"/>
      <a:buFont typeface="Wingdings" pitchFamily="2" charset="2"/>
      <a:defRPr sz="1000" kern="1200">
        <a:solidFill>
          <a:schemeClr val="tx1"/>
        </a:solidFill>
        <a:latin typeface="Credit Suisse Type Light" pitchFamily="34" charset="0"/>
        <a:ea typeface="+mn-ea"/>
        <a:cs typeface="+mn-cs"/>
      </a:defRPr>
    </a:lvl2pPr>
    <a:lvl3pPr marL="914400" algn="l" rtl="0" fontAlgn="base">
      <a:spcBef>
        <a:spcPct val="20000"/>
      </a:spcBef>
      <a:spcAft>
        <a:spcPct val="0"/>
      </a:spcAft>
      <a:buClr>
        <a:schemeClr val="tx2"/>
      </a:buClr>
      <a:buSzPct val="120000"/>
      <a:buFont typeface="Wingdings" pitchFamily="2" charset="2"/>
      <a:defRPr sz="1000" kern="1200">
        <a:solidFill>
          <a:schemeClr val="tx1"/>
        </a:solidFill>
        <a:latin typeface="Credit Suisse Type Light" pitchFamily="34" charset="0"/>
        <a:ea typeface="+mn-ea"/>
        <a:cs typeface="+mn-cs"/>
      </a:defRPr>
    </a:lvl3pPr>
    <a:lvl4pPr marL="1371600" algn="l" rtl="0" fontAlgn="base">
      <a:spcBef>
        <a:spcPct val="20000"/>
      </a:spcBef>
      <a:spcAft>
        <a:spcPct val="0"/>
      </a:spcAft>
      <a:buClr>
        <a:schemeClr val="tx2"/>
      </a:buClr>
      <a:buSzPct val="120000"/>
      <a:buFont typeface="Wingdings" pitchFamily="2" charset="2"/>
      <a:defRPr sz="1000" kern="1200">
        <a:solidFill>
          <a:schemeClr val="tx1"/>
        </a:solidFill>
        <a:latin typeface="Credit Suisse Type Light" pitchFamily="34" charset="0"/>
        <a:ea typeface="+mn-ea"/>
        <a:cs typeface="+mn-cs"/>
      </a:defRPr>
    </a:lvl4pPr>
    <a:lvl5pPr marL="1828800" algn="l" rtl="0" fontAlgn="base">
      <a:spcBef>
        <a:spcPct val="20000"/>
      </a:spcBef>
      <a:spcAft>
        <a:spcPct val="0"/>
      </a:spcAft>
      <a:buClr>
        <a:schemeClr val="tx2"/>
      </a:buClr>
      <a:buSzPct val="120000"/>
      <a:buFont typeface="Wingdings" pitchFamily="2" charset="2"/>
      <a:defRPr sz="1000" kern="1200">
        <a:solidFill>
          <a:schemeClr val="tx1"/>
        </a:solidFill>
        <a:latin typeface="Credit Suisse Type Light" pitchFamily="34" charset="0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Credit Suisse Type Light" pitchFamily="34" charset="0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Credit Suisse Type Light" pitchFamily="34" charset="0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Credit Suisse Type Light" pitchFamily="34" charset="0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Credit Suisse Type Light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42">
          <p15:clr>
            <a:srgbClr val="A4A3A4"/>
          </p15:clr>
        </p15:guide>
        <p15:guide id="2" orient="horz" pos="572">
          <p15:clr>
            <a:srgbClr val="A4A3A4"/>
          </p15:clr>
        </p15:guide>
        <p15:guide id="3" pos="272">
          <p15:clr>
            <a:srgbClr val="A4A3A4"/>
          </p15:clr>
        </p15:guide>
        <p15:guide id="4" pos="553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8">
          <p15:clr>
            <a:srgbClr val="A4A3A4"/>
          </p15:clr>
        </p15:guide>
        <p15:guide id="2" pos="312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D6937"/>
    <a:srgbClr val="255B89"/>
    <a:srgbClr val="003868"/>
    <a:srgbClr val="FFFFFF"/>
    <a:srgbClr val="800000"/>
    <a:srgbClr val="898000"/>
    <a:srgbClr val="CCCCCC"/>
    <a:srgbClr val="91867E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79ACA8-943A-4A57-B885-0EB06BDD93E2}" v="118" dt="2021-01-14T14:09:31.93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48" autoAdjust="0"/>
    <p:restoredTop sz="93496" autoAdjust="0"/>
  </p:normalViewPr>
  <p:slideViewPr>
    <p:cSldViewPr snapToGrid="0" showGuides="1">
      <p:cViewPr>
        <p:scale>
          <a:sx n="125" d="100"/>
          <a:sy n="125" d="100"/>
        </p:scale>
        <p:origin x="1332" y="-246"/>
      </p:cViewPr>
      <p:guideLst>
        <p:guide orient="horz" pos="4042"/>
        <p:guide orient="horz" pos="572"/>
        <p:guide pos="272"/>
        <p:guide pos="5534"/>
      </p:guideLst>
    </p:cSldViewPr>
  </p:slideViewPr>
  <p:notesTextViewPr>
    <p:cViewPr>
      <p:scale>
        <a:sx n="50" d="100"/>
        <a:sy n="50" d="100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2168"/>
        <p:guide pos="312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uno Hunkeler" userId="aa893333c5787da3" providerId="LiveId" clId="{7E79ACA8-943A-4A57-B885-0EB06BDD93E2}"/>
    <pc:docChg chg="undo custSel addSld delSld modSld sldOrd">
      <pc:chgData name="Bruno Hunkeler" userId="aa893333c5787da3" providerId="LiveId" clId="{7E79ACA8-943A-4A57-B885-0EB06BDD93E2}" dt="2021-01-14T14:27:25.550" v="4046" actId="20577"/>
      <pc:docMkLst>
        <pc:docMk/>
      </pc:docMkLst>
      <pc:sldChg chg="addSp delSp modSp mod">
        <pc:chgData name="Bruno Hunkeler" userId="aa893333c5787da3" providerId="LiveId" clId="{7E79ACA8-943A-4A57-B885-0EB06BDD93E2}" dt="2021-01-05T15:17:52.897" v="167" actId="20577"/>
        <pc:sldMkLst>
          <pc:docMk/>
          <pc:sldMk cId="0" sldId="843"/>
        </pc:sldMkLst>
        <pc:spChg chg="mod">
          <ac:chgData name="Bruno Hunkeler" userId="aa893333c5787da3" providerId="LiveId" clId="{7E79ACA8-943A-4A57-B885-0EB06BDD93E2}" dt="2021-01-05T15:17:52.897" v="167" actId="20577"/>
          <ac:spMkLst>
            <pc:docMk/>
            <pc:sldMk cId="0" sldId="843"/>
            <ac:spMk id="2051" creationId="{00000000-0000-0000-0000-000000000000}"/>
          </ac:spMkLst>
        </pc:spChg>
        <pc:spChg chg="mod">
          <ac:chgData name="Bruno Hunkeler" userId="aa893333c5787da3" providerId="LiveId" clId="{7E79ACA8-943A-4A57-B885-0EB06BDD93E2}" dt="2021-01-05T15:14:31.939" v="120" actId="14100"/>
          <ac:spMkLst>
            <pc:docMk/>
            <pc:sldMk cId="0" sldId="843"/>
            <ac:spMk id="2055" creationId="{00000000-0000-0000-0000-000000000000}"/>
          </ac:spMkLst>
        </pc:spChg>
        <pc:picChg chg="add mod modCrop">
          <ac:chgData name="Bruno Hunkeler" userId="aa893333c5787da3" providerId="LiveId" clId="{7E79ACA8-943A-4A57-B885-0EB06BDD93E2}" dt="2021-01-05T15:13:58.301" v="118" actId="14100"/>
          <ac:picMkLst>
            <pc:docMk/>
            <pc:sldMk cId="0" sldId="843"/>
            <ac:picMk id="4" creationId="{29340FFC-997D-4C86-9D27-86ECEE1A62DD}"/>
          </ac:picMkLst>
        </pc:picChg>
        <pc:picChg chg="del">
          <ac:chgData name="Bruno Hunkeler" userId="aa893333c5787da3" providerId="LiveId" clId="{7E79ACA8-943A-4A57-B885-0EB06BDD93E2}" dt="2021-01-05T15:12:47.027" v="42" actId="478"/>
          <ac:picMkLst>
            <pc:docMk/>
            <pc:sldMk cId="0" sldId="843"/>
            <ac:picMk id="24" creationId="{605C8E3C-E0E8-4F8D-87B2-8B427524BD96}"/>
          </ac:picMkLst>
        </pc:picChg>
      </pc:sldChg>
      <pc:sldChg chg="addSp delSp modSp mod">
        <pc:chgData name="Bruno Hunkeler" userId="aa893333c5787da3" providerId="LiveId" clId="{7E79ACA8-943A-4A57-B885-0EB06BDD93E2}" dt="2021-01-14T08:57:19.048" v="2488" actId="20577"/>
        <pc:sldMkLst>
          <pc:docMk/>
          <pc:sldMk cId="0" sldId="886"/>
        </pc:sldMkLst>
        <pc:spChg chg="mod">
          <ac:chgData name="Bruno Hunkeler" userId="aa893333c5787da3" providerId="LiveId" clId="{7E79ACA8-943A-4A57-B885-0EB06BDD93E2}" dt="2021-01-14T08:53:36.064" v="2457" actId="6549"/>
          <ac:spMkLst>
            <pc:docMk/>
            <pc:sldMk cId="0" sldId="886"/>
            <ac:spMk id="21" creationId="{EC632604-16B2-41D7-8EE1-5383065F6540}"/>
          </ac:spMkLst>
        </pc:spChg>
        <pc:spChg chg="mod">
          <ac:chgData name="Bruno Hunkeler" userId="aa893333c5787da3" providerId="LiveId" clId="{7E79ACA8-943A-4A57-B885-0EB06BDD93E2}" dt="2021-01-14T08:53:21.863" v="2453" actId="1076"/>
          <ac:spMkLst>
            <pc:docMk/>
            <pc:sldMk cId="0" sldId="886"/>
            <ac:spMk id="25" creationId="{F65054F4-0D24-4357-A3DC-132F65B6C097}"/>
          </ac:spMkLst>
        </pc:spChg>
        <pc:spChg chg="mod">
          <ac:chgData name="Bruno Hunkeler" userId="aa893333c5787da3" providerId="LiveId" clId="{7E79ACA8-943A-4A57-B885-0EB06BDD93E2}" dt="2021-01-14T08:57:19.048" v="2488" actId="20577"/>
          <ac:spMkLst>
            <pc:docMk/>
            <pc:sldMk cId="0" sldId="886"/>
            <ac:spMk id="26" creationId="{CF26530C-B783-464D-910F-D612D804962C}"/>
          </ac:spMkLst>
        </pc:spChg>
        <pc:spChg chg="mod">
          <ac:chgData name="Bruno Hunkeler" userId="aa893333c5787da3" providerId="LiveId" clId="{7E79ACA8-943A-4A57-B885-0EB06BDD93E2}" dt="2021-01-14T08:53:44.675" v="2459" actId="20577"/>
          <ac:spMkLst>
            <pc:docMk/>
            <pc:sldMk cId="0" sldId="886"/>
            <ac:spMk id="3082" creationId="{00000000-0000-0000-0000-000000000000}"/>
          </ac:spMkLst>
        </pc:spChg>
        <pc:spChg chg="mod">
          <ac:chgData name="Bruno Hunkeler" userId="aa893333c5787da3" providerId="LiveId" clId="{7E79ACA8-943A-4A57-B885-0EB06BDD93E2}" dt="2021-01-14T08:53:53.479" v="2475" actId="20577"/>
          <ac:spMkLst>
            <pc:docMk/>
            <pc:sldMk cId="0" sldId="886"/>
            <ac:spMk id="3084" creationId="{00000000-0000-0000-0000-000000000000}"/>
          </ac:spMkLst>
        </pc:spChg>
        <pc:spChg chg="mod">
          <ac:chgData name="Bruno Hunkeler" userId="aa893333c5787da3" providerId="LiveId" clId="{7E79ACA8-943A-4A57-B885-0EB06BDD93E2}" dt="2021-01-14T08:52:27.317" v="2426" actId="20577"/>
          <ac:spMkLst>
            <pc:docMk/>
            <pc:sldMk cId="0" sldId="886"/>
            <ac:spMk id="3086" creationId="{00000000-0000-0000-0000-000000000000}"/>
          </ac:spMkLst>
        </pc:spChg>
        <pc:spChg chg="mod">
          <ac:chgData name="Bruno Hunkeler" userId="aa893333c5787da3" providerId="LiveId" clId="{7E79ACA8-943A-4A57-B885-0EB06BDD93E2}" dt="2021-01-14T08:52:02.674" v="2411" actId="20577"/>
          <ac:spMkLst>
            <pc:docMk/>
            <pc:sldMk cId="0" sldId="886"/>
            <ac:spMk id="3088" creationId="{00000000-0000-0000-0000-000000000000}"/>
          </ac:spMkLst>
        </pc:spChg>
        <pc:grpChg chg="add mod">
          <ac:chgData name="Bruno Hunkeler" userId="aa893333c5787da3" providerId="LiveId" clId="{7E79ACA8-943A-4A57-B885-0EB06BDD93E2}" dt="2021-01-14T08:53:21.863" v="2453" actId="1076"/>
          <ac:grpSpMkLst>
            <pc:docMk/>
            <pc:sldMk cId="0" sldId="886"/>
            <ac:grpSpMk id="24" creationId="{E40A10BE-D1B6-452A-919D-85183B827B41}"/>
          </ac:grpSpMkLst>
        </pc:grpChg>
        <pc:picChg chg="add del mod">
          <ac:chgData name="Bruno Hunkeler" userId="aa893333c5787da3" providerId="LiveId" clId="{7E79ACA8-943A-4A57-B885-0EB06BDD93E2}" dt="2021-01-14T08:55:23.530" v="2481" actId="478"/>
          <ac:picMkLst>
            <pc:docMk/>
            <pc:sldMk cId="0" sldId="886"/>
            <ac:picMk id="3" creationId="{DF516C00-47AE-46F0-9F09-9F48570E5B43}"/>
          </ac:picMkLst>
        </pc:picChg>
        <pc:picChg chg="del">
          <ac:chgData name="Bruno Hunkeler" userId="aa893333c5787da3" providerId="LiveId" clId="{7E79ACA8-943A-4A57-B885-0EB06BDD93E2}" dt="2021-01-14T08:56:02.560" v="2486" actId="478"/>
          <ac:picMkLst>
            <pc:docMk/>
            <pc:sldMk cId="0" sldId="886"/>
            <ac:picMk id="5" creationId="{ED4A8047-3256-4941-92B1-85E8F3EFC055}"/>
          </ac:picMkLst>
        </pc:picChg>
        <pc:picChg chg="del">
          <ac:chgData name="Bruno Hunkeler" userId="aa893333c5787da3" providerId="LiveId" clId="{7E79ACA8-943A-4A57-B885-0EB06BDD93E2}" dt="2021-01-14T08:55:59.290" v="2485" actId="478"/>
          <ac:picMkLst>
            <pc:docMk/>
            <pc:sldMk cId="0" sldId="886"/>
            <ac:picMk id="6" creationId="{AC565B2D-A660-4A1B-B11C-385BA29DF666}"/>
          </ac:picMkLst>
        </pc:picChg>
        <pc:picChg chg="add mod modCrop">
          <ac:chgData name="Bruno Hunkeler" userId="aa893333c5787da3" providerId="LiveId" clId="{7E79ACA8-943A-4A57-B885-0EB06BDD93E2}" dt="2021-01-14T08:56:11.847" v="2487" actId="1076"/>
          <ac:picMkLst>
            <pc:docMk/>
            <pc:sldMk cId="0" sldId="886"/>
            <ac:picMk id="7" creationId="{89210CE0-4284-4884-8BA2-9B4AAFC75937}"/>
          </ac:picMkLst>
        </pc:picChg>
      </pc:sldChg>
      <pc:sldChg chg="addSp delSp modSp del mod ord">
        <pc:chgData name="Bruno Hunkeler" userId="aa893333c5787da3" providerId="LiveId" clId="{7E79ACA8-943A-4A57-B885-0EB06BDD93E2}" dt="2021-01-14T14:07:07.039" v="3928" actId="47"/>
        <pc:sldMkLst>
          <pc:docMk/>
          <pc:sldMk cId="0" sldId="887"/>
        </pc:sldMkLst>
        <pc:spChg chg="add mod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3" creationId="{35116C3E-AD48-4156-885C-45C85B8293B7}"/>
          </ac:spMkLst>
        </pc:spChg>
        <pc:spChg chg="del mod">
          <ac:chgData name="Bruno Hunkeler" userId="aa893333c5787da3" providerId="LiveId" clId="{7E79ACA8-943A-4A57-B885-0EB06BDD93E2}" dt="2021-01-12T18:53:08.320" v="1814" actId="478"/>
          <ac:spMkLst>
            <pc:docMk/>
            <pc:sldMk cId="0" sldId="887"/>
            <ac:spMk id="12" creationId="{F30323FC-558B-4C68-A426-D65A6BB4F0A0}"/>
          </ac:spMkLst>
        </pc:spChg>
        <pc:spChg chg="mod">
          <ac:chgData name="Bruno Hunkeler" userId="aa893333c5787da3" providerId="LiveId" clId="{7E79ACA8-943A-4A57-B885-0EB06BDD93E2}" dt="2021-01-05T15:48:33.262" v="998"/>
          <ac:spMkLst>
            <pc:docMk/>
            <pc:sldMk cId="0" sldId="887"/>
            <ac:spMk id="13" creationId="{7380686D-5B04-4938-B4BA-4F7E0F38A1C0}"/>
          </ac:spMkLst>
        </pc:spChg>
        <pc:spChg chg="add del mod">
          <ac:chgData name="Bruno Hunkeler" userId="aa893333c5787da3" providerId="LiveId" clId="{7E79ACA8-943A-4A57-B885-0EB06BDD93E2}" dt="2021-01-12T18:52:22.076" v="1810" actId="478"/>
          <ac:spMkLst>
            <pc:docMk/>
            <pc:sldMk cId="0" sldId="887"/>
            <ac:spMk id="14" creationId="{40FF3E9B-20EC-4CE8-84E2-B30563C43382}"/>
          </ac:spMkLst>
        </pc:spChg>
        <pc:spChg chg="mod">
          <ac:chgData name="Bruno Hunkeler" userId="aa893333c5787da3" providerId="LiveId" clId="{7E79ACA8-943A-4A57-B885-0EB06BDD93E2}" dt="2021-01-05T15:48:33.262" v="998"/>
          <ac:spMkLst>
            <pc:docMk/>
            <pc:sldMk cId="0" sldId="887"/>
            <ac:spMk id="15" creationId="{55A4D652-563E-4B4E-B270-CDA35BB4C423}"/>
          </ac:spMkLst>
        </pc:spChg>
        <pc:spChg chg="mod">
          <ac:chgData name="Bruno Hunkeler" userId="aa893333c5787da3" providerId="LiveId" clId="{7E79ACA8-943A-4A57-B885-0EB06BDD93E2}" dt="2021-01-05T15:48:33.262" v="998"/>
          <ac:spMkLst>
            <pc:docMk/>
            <pc:sldMk cId="0" sldId="887"/>
            <ac:spMk id="16" creationId="{026916CA-A5BF-4DEF-9E00-7F405C3C2C78}"/>
          </ac:spMkLst>
        </pc:spChg>
        <pc:spChg chg="del">
          <ac:chgData name="Bruno Hunkeler" userId="aa893333c5787da3" providerId="LiveId" clId="{7E79ACA8-943A-4A57-B885-0EB06BDD93E2}" dt="2021-01-05T15:15:30.726" v="125" actId="478"/>
          <ac:spMkLst>
            <pc:docMk/>
            <pc:sldMk cId="0" sldId="887"/>
            <ac:spMk id="17" creationId="{94AA0930-35D4-4BBC-A547-8C41074937AC}"/>
          </ac:spMkLst>
        </pc:spChg>
        <pc:spChg chg="mod">
          <ac:chgData name="Bruno Hunkeler" userId="aa893333c5787da3" providerId="LiveId" clId="{7E79ACA8-943A-4A57-B885-0EB06BDD93E2}" dt="2021-01-05T15:48:33.262" v="998"/>
          <ac:spMkLst>
            <pc:docMk/>
            <pc:sldMk cId="0" sldId="887"/>
            <ac:spMk id="21" creationId="{4AA1D9BD-0CDB-4862-A09B-17662BED81C1}"/>
          </ac:spMkLst>
        </pc:spChg>
        <pc:spChg chg="mod">
          <ac:chgData name="Bruno Hunkeler" userId="aa893333c5787da3" providerId="LiveId" clId="{7E79ACA8-943A-4A57-B885-0EB06BDD93E2}" dt="2021-01-05T15:48:33.262" v="998"/>
          <ac:spMkLst>
            <pc:docMk/>
            <pc:sldMk cId="0" sldId="887"/>
            <ac:spMk id="22" creationId="{48E11697-6C89-4BD1-B50D-7F50E8861AD3}"/>
          </ac:spMkLst>
        </pc:spChg>
        <pc:spChg chg="mod">
          <ac:chgData name="Bruno Hunkeler" userId="aa893333c5787da3" providerId="LiveId" clId="{7E79ACA8-943A-4A57-B885-0EB06BDD93E2}" dt="2021-01-05T15:48:33.262" v="998"/>
          <ac:spMkLst>
            <pc:docMk/>
            <pc:sldMk cId="0" sldId="887"/>
            <ac:spMk id="23" creationId="{F11E5FBD-8BB5-4997-B3A7-0431579ADD27}"/>
          </ac:spMkLst>
        </pc:spChg>
        <pc:spChg chg="mod">
          <ac:chgData name="Bruno Hunkeler" userId="aa893333c5787da3" providerId="LiveId" clId="{7E79ACA8-943A-4A57-B885-0EB06BDD93E2}" dt="2021-01-05T15:48:33.262" v="998"/>
          <ac:spMkLst>
            <pc:docMk/>
            <pc:sldMk cId="0" sldId="887"/>
            <ac:spMk id="24" creationId="{2938E88C-6487-4245-9032-7C50C18775D2}"/>
          </ac:spMkLst>
        </pc:spChg>
        <pc:spChg chg="mod">
          <ac:chgData name="Bruno Hunkeler" userId="aa893333c5787da3" providerId="LiveId" clId="{7E79ACA8-943A-4A57-B885-0EB06BDD93E2}" dt="2021-01-05T15:48:33.262" v="998"/>
          <ac:spMkLst>
            <pc:docMk/>
            <pc:sldMk cId="0" sldId="887"/>
            <ac:spMk id="27" creationId="{992909AE-67F4-4573-AC9D-BBED7EB77506}"/>
          </ac:spMkLst>
        </pc:spChg>
        <pc:spChg chg="mod">
          <ac:chgData name="Bruno Hunkeler" userId="aa893333c5787da3" providerId="LiveId" clId="{7E79ACA8-943A-4A57-B885-0EB06BDD93E2}" dt="2021-01-05T15:48:33.262" v="998"/>
          <ac:spMkLst>
            <pc:docMk/>
            <pc:sldMk cId="0" sldId="887"/>
            <ac:spMk id="29" creationId="{AA507CB6-6AFF-4521-A7E3-42A28E8AF802}"/>
          </ac:spMkLst>
        </pc:spChg>
        <pc:spChg chg="mod">
          <ac:chgData name="Bruno Hunkeler" userId="aa893333c5787da3" providerId="LiveId" clId="{7E79ACA8-943A-4A57-B885-0EB06BDD93E2}" dt="2021-01-05T15:48:33.262" v="998"/>
          <ac:spMkLst>
            <pc:docMk/>
            <pc:sldMk cId="0" sldId="887"/>
            <ac:spMk id="32" creationId="{AA7F8535-52C7-436D-810B-F96FD6E77A37}"/>
          </ac:spMkLst>
        </pc:spChg>
        <pc:spChg chg="mod">
          <ac:chgData name="Bruno Hunkeler" userId="aa893333c5787da3" providerId="LiveId" clId="{7E79ACA8-943A-4A57-B885-0EB06BDD93E2}" dt="2021-01-05T15:48:33.262" v="998"/>
          <ac:spMkLst>
            <pc:docMk/>
            <pc:sldMk cId="0" sldId="887"/>
            <ac:spMk id="33" creationId="{C76438E9-4F79-477A-8AE6-8D8E49E6A2E0}"/>
          </ac:spMkLst>
        </pc:spChg>
        <pc:spChg chg="mod">
          <ac:chgData name="Bruno Hunkeler" userId="aa893333c5787da3" providerId="LiveId" clId="{7E79ACA8-943A-4A57-B885-0EB06BDD93E2}" dt="2021-01-05T15:48:33.262" v="998"/>
          <ac:spMkLst>
            <pc:docMk/>
            <pc:sldMk cId="0" sldId="887"/>
            <ac:spMk id="34" creationId="{0636815C-7119-491A-8E97-E61785280573}"/>
          </ac:spMkLst>
        </pc:spChg>
        <pc:spChg chg="mod">
          <ac:chgData name="Bruno Hunkeler" userId="aa893333c5787da3" providerId="LiveId" clId="{7E79ACA8-943A-4A57-B885-0EB06BDD93E2}" dt="2021-01-05T15:49:04.214" v="1034" actId="1037"/>
          <ac:spMkLst>
            <pc:docMk/>
            <pc:sldMk cId="0" sldId="887"/>
            <ac:spMk id="35" creationId="{D34E2AF6-8C8D-4250-A7BE-E4D5B137E269}"/>
          </ac:spMkLst>
        </pc:spChg>
        <pc:spChg chg="mod">
          <ac:chgData name="Bruno Hunkeler" userId="aa893333c5787da3" providerId="LiveId" clId="{7E79ACA8-943A-4A57-B885-0EB06BDD93E2}" dt="2021-01-05T15:48:33.262" v="998"/>
          <ac:spMkLst>
            <pc:docMk/>
            <pc:sldMk cId="0" sldId="887"/>
            <ac:spMk id="36" creationId="{F04EA809-E82B-410A-BAB7-BC54E7F43D13}"/>
          </ac:spMkLst>
        </pc:spChg>
        <pc:spChg chg="mod">
          <ac:chgData name="Bruno Hunkeler" userId="aa893333c5787da3" providerId="LiveId" clId="{7E79ACA8-943A-4A57-B885-0EB06BDD93E2}" dt="2021-01-05T15:49:31.756" v="1037" actId="20577"/>
          <ac:spMkLst>
            <pc:docMk/>
            <pc:sldMk cId="0" sldId="887"/>
            <ac:spMk id="39" creationId="{8B01A293-DFA2-4D31-B9E5-D152ABBFE3C0}"/>
          </ac:spMkLst>
        </pc:spChg>
        <pc:spChg chg="mod">
          <ac:chgData name="Bruno Hunkeler" userId="aa893333c5787da3" providerId="LiveId" clId="{7E79ACA8-943A-4A57-B885-0EB06BDD93E2}" dt="2021-01-05T15:49:45.256" v="1048" actId="1037"/>
          <ac:spMkLst>
            <pc:docMk/>
            <pc:sldMk cId="0" sldId="887"/>
            <ac:spMk id="41" creationId="{7D5A5EC3-EFE7-45EF-B89B-087C49E3F9D6}"/>
          </ac:spMkLst>
        </pc:spChg>
        <pc:spChg chg="mod topLvl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43" creationId="{EE9684B7-45D7-4802-80A2-7BDB5AB88A0A}"/>
          </ac:spMkLst>
        </pc:spChg>
        <pc:spChg chg="mod topLvl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44" creationId="{4CACBBE6-A57D-4403-8CD1-BA5C35F11BB8}"/>
          </ac:spMkLst>
        </pc:spChg>
        <pc:spChg chg="mod topLvl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45" creationId="{54B1D08B-4B8E-4A8A-AC3D-DDEBA64D98C7}"/>
          </ac:spMkLst>
        </pc:spChg>
        <pc:spChg chg="mod topLvl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46" creationId="{43661ADE-68E2-4154-B9F9-1CFE5ED263DE}"/>
          </ac:spMkLst>
        </pc:spChg>
        <pc:spChg chg="mod topLvl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49" creationId="{2F700A0F-E937-438A-9582-E0CFD41E8A8A}"/>
          </ac:spMkLst>
        </pc:spChg>
        <pc:spChg chg="mod topLvl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50" creationId="{2892E386-E64D-49AE-992E-23929B45BB51}"/>
          </ac:spMkLst>
        </pc:spChg>
        <pc:spChg chg="mod topLvl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51" creationId="{E13DEDE7-C967-459C-A124-55C69EE64F00}"/>
          </ac:spMkLst>
        </pc:spChg>
        <pc:spChg chg="mod topLvl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52" creationId="{844098C7-A495-4EBD-9C63-2E2718C36F09}"/>
          </ac:spMkLst>
        </pc:spChg>
        <pc:spChg chg="mod topLvl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56" creationId="{7752AFCA-2F50-4178-A19D-2B7FFCA94200}"/>
          </ac:spMkLst>
        </pc:spChg>
        <pc:spChg chg="mod topLvl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57" creationId="{B8FE2995-EE58-4053-A904-FD9ABEE56DC4}"/>
          </ac:spMkLst>
        </pc:spChg>
        <pc:spChg chg="mod topLvl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58" creationId="{A105A95C-2498-40B9-91BD-4E17A7A40902}"/>
          </ac:spMkLst>
        </pc:spChg>
        <pc:spChg chg="mod topLvl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59" creationId="{71FE699D-1DB4-4296-85AE-1877EF55090E}"/>
          </ac:spMkLst>
        </pc:spChg>
        <pc:spChg chg="mod topLvl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60" creationId="{04A3A990-0BBE-4E76-BA43-C14DD7FBD423}"/>
          </ac:spMkLst>
        </pc:spChg>
        <pc:spChg chg="mod topLvl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64" creationId="{83AD6573-AC84-43B6-8A60-CAEA7DB9D644}"/>
          </ac:spMkLst>
        </pc:spChg>
        <pc:spChg chg="mod topLvl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65" creationId="{98ACC7D3-B336-497E-825B-9A91ECF9E424}"/>
          </ac:spMkLst>
        </pc:spChg>
        <pc:spChg chg="mod topLvl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66" creationId="{2DD55245-201C-4DFE-B122-E5C60832EF72}"/>
          </ac:spMkLst>
        </pc:spChg>
        <pc:spChg chg="mod topLvl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72" creationId="{1BA002EE-428F-4EC5-8003-D8E76C0AAFD7}"/>
          </ac:spMkLst>
        </pc:spChg>
        <pc:spChg chg="mod topLvl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73" creationId="{759F116D-CA64-43AD-8235-91A96AC08E5A}"/>
          </ac:spMkLst>
        </pc:spChg>
        <pc:spChg chg="mod ord topLvl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74" creationId="{39F86A12-DEBE-425B-9660-9DA0F70FE758}"/>
          </ac:spMkLst>
        </pc:spChg>
        <pc:spChg chg="mod ord topLvl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75" creationId="{10D34442-574F-4E74-8736-EA542944F27F}"/>
          </ac:spMkLst>
        </pc:spChg>
        <pc:spChg chg="mod topLvl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77" creationId="{6CECEFB1-B22C-4C81-ACD3-1B5E9433333D}"/>
          </ac:spMkLst>
        </pc:spChg>
        <pc:spChg chg="mod">
          <ac:chgData name="Bruno Hunkeler" userId="aa893333c5787da3" providerId="LiveId" clId="{7E79ACA8-943A-4A57-B885-0EB06BDD93E2}" dt="2021-01-12T19:22:24.087" v="2081" actId="165"/>
          <ac:spMkLst>
            <pc:docMk/>
            <pc:sldMk cId="0" sldId="887"/>
            <ac:spMk id="81" creationId="{1F720878-2E83-4196-8FB3-9970D36C0914}"/>
          </ac:spMkLst>
        </pc:spChg>
        <pc:spChg chg="mod">
          <ac:chgData name="Bruno Hunkeler" userId="aa893333c5787da3" providerId="LiveId" clId="{7E79ACA8-943A-4A57-B885-0EB06BDD93E2}" dt="2021-01-12T19:22:24.087" v="2081" actId="165"/>
          <ac:spMkLst>
            <pc:docMk/>
            <pc:sldMk cId="0" sldId="887"/>
            <ac:spMk id="83" creationId="{477A84FA-069E-47E8-BB8E-5BB8957ABAB0}"/>
          </ac:spMkLst>
        </pc:spChg>
        <pc:spChg chg="mod">
          <ac:chgData name="Bruno Hunkeler" userId="aa893333c5787da3" providerId="LiveId" clId="{7E79ACA8-943A-4A57-B885-0EB06BDD93E2}" dt="2021-01-12T19:22:24.087" v="2081" actId="165"/>
          <ac:spMkLst>
            <pc:docMk/>
            <pc:sldMk cId="0" sldId="887"/>
            <ac:spMk id="85" creationId="{E9C4C657-30ED-4795-ADBC-6837C83243BF}"/>
          </ac:spMkLst>
        </pc:spChg>
        <pc:spChg chg="mod">
          <ac:chgData name="Bruno Hunkeler" userId="aa893333c5787da3" providerId="LiveId" clId="{7E79ACA8-943A-4A57-B885-0EB06BDD93E2}" dt="2021-01-12T19:22:24.087" v="2081" actId="165"/>
          <ac:spMkLst>
            <pc:docMk/>
            <pc:sldMk cId="0" sldId="887"/>
            <ac:spMk id="87" creationId="{B436D13E-5E41-4328-A96D-CA876435B9A8}"/>
          </ac:spMkLst>
        </pc:spChg>
        <pc:spChg chg="add mod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88" creationId="{2D6101DE-B280-4383-A5FE-93A9B0270244}"/>
          </ac:spMkLst>
        </pc:spChg>
        <pc:spChg chg="add mod">
          <ac:chgData name="Bruno Hunkeler" userId="aa893333c5787da3" providerId="LiveId" clId="{7E79ACA8-943A-4A57-B885-0EB06BDD93E2}" dt="2021-01-12T19:45:02.978" v="2120" actId="164"/>
          <ac:spMkLst>
            <pc:docMk/>
            <pc:sldMk cId="0" sldId="887"/>
            <ac:spMk id="94" creationId="{1A175242-E74D-4A6F-981A-C59BF4F2C0F3}"/>
          </ac:spMkLst>
        </pc:spChg>
        <pc:spChg chg="add del mod">
          <ac:chgData name="Bruno Hunkeler" userId="aa893333c5787da3" providerId="LiveId" clId="{7E79ACA8-943A-4A57-B885-0EB06BDD93E2}" dt="2021-01-12T19:29:51.924" v="2109" actId="21"/>
          <ac:spMkLst>
            <pc:docMk/>
            <pc:sldMk cId="0" sldId="887"/>
            <ac:spMk id="95" creationId="{9BFEB698-22B1-4C81-A571-635A6EE4AB2D}"/>
          </ac:spMkLst>
        </pc:spChg>
        <pc:spChg chg="mod">
          <ac:chgData name="Bruno Hunkeler" userId="aa893333c5787da3" providerId="LiveId" clId="{7E79ACA8-943A-4A57-B885-0EB06BDD93E2}" dt="2021-01-05T15:54:08.767" v="1068" actId="108"/>
          <ac:spMkLst>
            <pc:docMk/>
            <pc:sldMk cId="0" sldId="887"/>
            <ac:spMk id="4099" creationId="{00000000-0000-0000-0000-000000000000}"/>
          </ac:spMkLst>
        </pc:spChg>
        <pc:grpChg chg="add del mod">
          <ac:chgData name="Bruno Hunkeler" userId="aa893333c5787da3" providerId="LiveId" clId="{7E79ACA8-943A-4A57-B885-0EB06BDD93E2}" dt="2021-01-12T18:52:27.146" v="1811" actId="478"/>
          <ac:grpSpMkLst>
            <pc:docMk/>
            <pc:sldMk cId="0" sldId="887"/>
            <ac:grpSpMk id="11" creationId="{E690672A-68FC-4576-A0D9-D65BC50EBCFD}"/>
          </ac:grpSpMkLst>
        </pc:grpChg>
        <pc:grpChg chg="mod">
          <ac:chgData name="Bruno Hunkeler" userId="aa893333c5787da3" providerId="LiveId" clId="{7E79ACA8-943A-4A57-B885-0EB06BDD93E2}" dt="2021-01-05T15:48:33.262" v="998"/>
          <ac:grpSpMkLst>
            <pc:docMk/>
            <pc:sldMk cId="0" sldId="887"/>
            <ac:grpSpMk id="18" creationId="{DF303837-E0AE-414E-AE75-2E1F9311C48B}"/>
          </ac:grpSpMkLst>
        </pc:grpChg>
        <pc:grpChg chg="mod">
          <ac:chgData name="Bruno Hunkeler" userId="aa893333c5787da3" providerId="LiveId" clId="{7E79ACA8-943A-4A57-B885-0EB06BDD93E2}" dt="2021-01-05T15:48:33.262" v="998"/>
          <ac:grpSpMkLst>
            <pc:docMk/>
            <pc:sldMk cId="0" sldId="887"/>
            <ac:grpSpMk id="19" creationId="{EFF889A2-7930-428F-AEFD-651EC8435035}"/>
          </ac:grpSpMkLst>
        </pc:grpChg>
        <pc:grpChg chg="add del mod">
          <ac:chgData name="Bruno Hunkeler" userId="aa893333c5787da3" providerId="LiveId" clId="{7E79ACA8-943A-4A57-B885-0EB06BDD93E2}" dt="2021-01-12T19:22:24.087" v="2081" actId="165"/>
          <ac:grpSpMkLst>
            <pc:docMk/>
            <pc:sldMk cId="0" sldId="887"/>
            <ac:grpSpMk id="42" creationId="{A7836F7F-9EE1-4E94-90AB-6E4B3F0C977F}"/>
          </ac:grpSpMkLst>
        </pc:grpChg>
        <pc:grpChg chg="mod topLvl">
          <ac:chgData name="Bruno Hunkeler" userId="aa893333c5787da3" providerId="LiveId" clId="{7E79ACA8-943A-4A57-B885-0EB06BDD93E2}" dt="2021-01-12T19:45:02.978" v="2120" actId="164"/>
          <ac:grpSpMkLst>
            <pc:docMk/>
            <pc:sldMk cId="0" sldId="887"/>
            <ac:grpSpMk id="47" creationId="{F9CE8EA4-9B9C-4FB2-B003-70C79220F05A}"/>
          </ac:grpSpMkLst>
        </pc:grpChg>
        <pc:grpChg chg="mod topLvl">
          <ac:chgData name="Bruno Hunkeler" userId="aa893333c5787da3" providerId="LiveId" clId="{7E79ACA8-943A-4A57-B885-0EB06BDD93E2}" dt="2021-01-12T19:45:02.978" v="2120" actId="164"/>
          <ac:grpSpMkLst>
            <pc:docMk/>
            <pc:sldMk cId="0" sldId="887"/>
            <ac:grpSpMk id="63" creationId="{0D9BE423-600B-4E62-8B74-7CC04E96814B}"/>
          </ac:grpSpMkLst>
        </pc:grpChg>
        <pc:grpChg chg="mod ord topLvl">
          <ac:chgData name="Bruno Hunkeler" userId="aa893333c5787da3" providerId="LiveId" clId="{7E79ACA8-943A-4A57-B885-0EB06BDD93E2}" dt="2021-01-12T19:45:02.978" v="2120" actId="164"/>
          <ac:grpSpMkLst>
            <pc:docMk/>
            <pc:sldMk cId="0" sldId="887"/>
            <ac:grpSpMk id="67" creationId="{6D242DD3-8AC6-4A78-8BD0-1C69EC7618B5}"/>
          </ac:grpSpMkLst>
        </pc:grpChg>
        <pc:grpChg chg="mod ord topLvl">
          <ac:chgData name="Bruno Hunkeler" userId="aa893333c5787da3" providerId="LiveId" clId="{7E79ACA8-943A-4A57-B885-0EB06BDD93E2}" dt="2021-01-12T19:45:02.978" v="2120" actId="164"/>
          <ac:grpSpMkLst>
            <pc:docMk/>
            <pc:sldMk cId="0" sldId="887"/>
            <ac:grpSpMk id="69" creationId="{F6F43DD4-003F-45FB-92EF-FFC39461030B}"/>
          </ac:grpSpMkLst>
        </pc:grpChg>
        <pc:grpChg chg="add mod">
          <ac:chgData name="Bruno Hunkeler" userId="aa893333c5787da3" providerId="LiveId" clId="{7E79ACA8-943A-4A57-B885-0EB06BDD93E2}" dt="2021-01-12T19:45:02.978" v="2120" actId="164"/>
          <ac:grpSpMkLst>
            <pc:docMk/>
            <pc:sldMk cId="0" sldId="887"/>
            <ac:grpSpMk id="4101" creationId="{65EE26B3-2D05-4EDA-AA26-2FFF7012EF35}"/>
          </ac:grpSpMkLst>
        </pc:grpChg>
        <pc:picChg chg="add del mod">
          <ac:chgData name="Bruno Hunkeler" userId="aa893333c5787da3" providerId="LiveId" clId="{7E79ACA8-943A-4A57-B885-0EB06BDD93E2}" dt="2021-01-05T15:48:50.383" v="1000" actId="478"/>
          <ac:picMkLst>
            <pc:docMk/>
            <pc:sldMk cId="0" sldId="887"/>
            <ac:picMk id="3" creationId="{CA902732-9848-48DD-BE54-4FA5A2DB8AED}"/>
          </ac:picMkLst>
        </pc:picChg>
        <pc:picChg chg="del">
          <ac:chgData name="Bruno Hunkeler" userId="aa893333c5787da3" providerId="LiveId" clId="{7E79ACA8-943A-4A57-B885-0EB06BDD93E2}" dt="2021-01-05T15:15:26.465" v="124" actId="478"/>
          <ac:picMkLst>
            <pc:docMk/>
            <pc:sldMk cId="0" sldId="887"/>
            <ac:picMk id="6" creationId="{53BDF4CB-2E2A-4BCC-AB61-B918AE50862C}"/>
          </ac:picMkLst>
        </pc:picChg>
        <pc:picChg chg="del">
          <ac:chgData name="Bruno Hunkeler" userId="aa893333c5787da3" providerId="LiveId" clId="{7E79ACA8-943A-4A57-B885-0EB06BDD93E2}" dt="2021-01-05T15:15:23.315" v="123" actId="478"/>
          <ac:picMkLst>
            <pc:docMk/>
            <pc:sldMk cId="0" sldId="887"/>
            <ac:picMk id="10" creationId="{8C7B6CA5-84A7-4F7D-B234-268211C089BC}"/>
          </ac:picMkLst>
        </pc:picChg>
        <pc:picChg chg="mod">
          <ac:chgData name="Bruno Hunkeler" userId="aa893333c5787da3" providerId="LiveId" clId="{7E79ACA8-943A-4A57-B885-0EB06BDD93E2}" dt="2021-01-05T15:48:33.262" v="998"/>
          <ac:picMkLst>
            <pc:docMk/>
            <pc:sldMk cId="0" sldId="887"/>
            <ac:picMk id="38" creationId="{A54DF3F7-E30B-493D-B188-ABE00CD63874}"/>
          </ac:picMkLst>
        </pc:picChg>
        <pc:picChg chg="mod">
          <ac:chgData name="Bruno Hunkeler" userId="aa893333c5787da3" providerId="LiveId" clId="{7E79ACA8-943A-4A57-B885-0EB06BDD93E2}" dt="2021-01-05T15:48:33.262" v="998"/>
          <ac:picMkLst>
            <pc:docMk/>
            <pc:sldMk cId="0" sldId="887"/>
            <ac:picMk id="40" creationId="{9C62A832-98D8-4D5D-87FA-70675BCE1290}"/>
          </ac:picMkLst>
        </pc:picChg>
        <pc:picChg chg="mod">
          <ac:chgData name="Bruno Hunkeler" userId="aa893333c5787da3" providerId="LiveId" clId="{7E79ACA8-943A-4A57-B885-0EB06BDD93E2}" dt="2021-01-12T19:22:24.087" v="2081" actId="165"/>
          <ac:picMkLst>
            <pc:docMk/>
            <pc:sldMk cId="0" sldId="887"/>
            <ac:picMk id="80" creationId="{16AB94A0-AA12-4B93-8826-D4119D566F63}"/>
          </ac:picMkLst>
        </pc:picChg>
        <pc:picChg chg="mod">
          <ac:chgData name="Bruno Hunkeler" userId="aa893333c5787da3" providerId="LiveId" clId="{7E79ACA8-943A-4A57-B885-0EB06BDD93E2}" dt="2021-01-12T19:22:24.087" v="2081" actId="165"/>
          <ac:picMkLst>
            <pc:docMk/>
            <pc:sldMk cId="0" sldId="887"/>
            <ac:picMk id="82" creationId="{F2BF8E39-037F-42A6-8C75-1BADDFC1616C}"/>
          </ac:picMkLst>
        </pc:picChg>
        <pc:picChg chg="mod">
          <ac:chgData name="Bruno Hunkeler" userId="aa893333c5787da3" providerId="LiveId" clId="{7E79ACA8-943A-4A57-B885-0EB06BDD93E2}" dt="2021-01-12T19:22:24.087" v="2081" actId="165"/>
          <ac:picMkLst>
            <pc:docMk/>
            <pc:sldMk cId="0" sldId="887"/>
            <ac:picMk id="84" creationId="{8604C870-E55B-45A8-9E41-6DC265376278}"/>
          </ac:picMkLst>
        </pc:picChg>
        <pc:picChg chg="mod">
          <ac:chgData name="Bruno Hunkeler" userId="aa893333c5787da3" providerId="LiveId" clId="{7E79ACA8-943A-4A57-B885-0EB06BDD93E2}" dt="2021-01-12T19:22:24.087" v="2081" actId="165"/>
          <ac:picMkLst>
            <pc:docMk/>
            <pc:sldMk cId="0" sldId="887"/>
            <ac:picMk id="86" creationId="{29648AAE-DA0B-4FB8-A89B-2A9C6D2FBEBE}"/>
          </ac:picMkLst>
        </pc:picChg>
        <pc:cxnChg chg="mod">
          <ac:chgData name="Bruno Hunkeler" userId="aa893333c5787da3" providerId="LiveId" clId="{7E79ACA8-943A-4A57-B885-0EB06BDD93E2}" dt="2021-01-12T18:52:27.146" v="1811" actId="478"/>
          <ac:cxnSpMkLst>
            <pc:docMk/>
            <pc:sldMk cId="0" sldId="887"/>
            <ac:cxnSpMk id="20" creationId="{88CC7BC5-9848-46E1-B426-B1D3D81E8427}"/>
          </ac:cxnSpMkLst>
        </pc:cxnChg>
        <pc:cxnChg chg="mod">
          <ac:chgData name="Bruno Hunkeler" userId="aa893333c5787da3" providerId="LiveId" clId="{7E79ACA8-943A-4A57-B885-0EB06BDD93E2}" dt="2021-01-12T18:52:27.146" v="1811" actId="478"/>
          <ac:cxnSpMkLst>
            <pc:docMk/>
            <pc:sldMk cId="0" sldId="887"/>
            <ac:cxnSpMk id="25" creationId="{B5A35330-69E0-41A1-8911-08F6BC6F48C9}"/>
          </ac:cxnSpMkLst>
        </pc:cxnChg>
        <pc:cxnChg chg="mod">
          <ac:chgData name="Bruno Hunkeler" userId="aa893333c5787da3" providerId="LiveId" clId="{7E79ACA8-943A-4A57-B885-0EB06BDD93E2}" dt="2021-01-12T18:52:27.146" v="1811" actId="478"/>
          <ac:cxnSpMkLst>
            <pc:docMk/>
            <pc:sldMk cId="0" sldId="887"/>
            <ac:cxnSpMk id="26" creationId="{9781E44A-95A6-4BC9-88DE-540843819C9E}"/>
          </ac:cxnSpMkLst>
        </pc:cxnChg>
        <pc:cxnChg chg="mod">
          <ac:chgData name="Bruno Hunkeler" userId="aa893333c5787da3" providerId="LiveId" clId="{7E79ACA8-943A-4A57-B885-0EB06BDD93E2}" dt="2021-01-12T18:52:27.146" v="1811" actId="478"/>
          <ac:cxnSpMkLst>
            <pc:docMk/>
            <pc:sldMk cId="0" sldId="887"/>
            <ac:cxnSpMk id="28" creationId="{02924F4D-7F22-4F90-9A66-22E1B6A29439}"/>
          </ac:cxnSpMkLst>
        </pc:cxnChg>
        <pc:cxnChg chg="mod">
          <ac:chgData name="Bruno Hunkeler" userId="aa893333c5787da3" providerId="LiveId" clId="{7E79ACA8-943A-4A57-B885-0EB06BDD93E2}" dt="2021-01-12T18:52:27.146" v="1811" actId="478"/>
          <ac:cxnSpMkLst>
            <pc:docMk/>
            <pc:sldMk cId="0" sldId="887"/>
            <ac:cxnSpMk id="30" creationId="{826267E6-9B57-46A5-9A31-835B5EBCD5F7}"/>
          </ac:cxnSpMkLst>
        </pc:cxnChg>
        <pc:cxnChg chg="mod">
          <ac:chgData name="Bruno Hunkeler" userId="aa893333c5787da3" providerId="LiveId" clId="{7E79ACA8-943A-4A57-B885-0EB06BDD93E2}" dt="2021-01-12T18:52:27.146" v="1811" actId="478"/>
          <ac:cxnSpMkLst>
            <pc:docMk/>
            <pc:sldMk cId="0" sldId="887"/>
            <ac:cxnSpMk id="31" creationId="{46C29400-5DB9-481E-AB75-104AB399BAB0}"/>
          </ac:cxnSpMkLst>
        </pc:cxnChg>
        <pc:cxnChg chg="mod">
          <ac:chgData name="Bruno Hunkeler" userId="aa893333c5787da3" providerId="LiveId" clId="{7E79ACA8-943A-4A57-B885-0EB06BDD93E2}" dt="2021-01-12T18:52:27.146" v="1811" actId="478"/>
          <ac:cxnSpMkLst>
            <pc:docMk/>
            <pc:sldMk cId="0" sldId="887"/>
            <ac:cxnSpMk id="37" creationId="{A1B33B75-1924-4BD0-A20B-71EED66D41E0}"/>
          </ac:cxnSpMkLst>
        </pc:cxnChg>
        <pc:cxnChg chg="mod topLvl">
          <ac:chgData name="Bruno Hunkeler" userId="aa893333c5787da3" providerId="LiveId" clId="{7E79ACA8-943A-4A57-B885-0EB06BDD93E2}" dt="2021-01-12T19:45:02.978" v="2120" actId="164"/>
          <ac:cxnSpMkLst>
            <pc:docMk/>
            <pc:sldMk cId="0" sldId="887"/>
            <ac:cxnSpMk id="48" creationId="{A06D4CDB-F4FB-4B1D-86F5-2F48D0476DFB}"/>
          </ac:cxnSpMkLst>
        </pc:cxnChg>
        <pc:cxnChg chg="mod topLvl">
          <ac:chgData name="Bruno Hunkeler" userId="aa893333c5787da3" providerId="LiveId" clId="{7E79ACA8-943A-4A57-B885-0EB06BDD93E2}" dt="2021-01-12T19:45:02.978" v="2120" actId="164"/>
          <ac:cxnSpMkLst>
            <pc:docMk/>
            <pc:sldMk cId="0" sldId="887"/>
            <ac:cxnSpMk id="53" creationId="{3EAB8F76-A3B0-4E76-995D-48A8F6C194A0}"/>
          </ac:cxnSpMkLst>
        </pc:cxnChg>
        <pc:cxnChg chg="mod topLvl">
          <ac:chgData name="Bruno Hunkeler" userId="aa893333c5787da3" providerId="LiveId" clId="{7E79ACA8-943A-4A57-B885-0EB06BDD93E2}" dt="2021-01-12T19:45:02.978" v="2120" actId="164"/>
          <ac:cxnSpMkLst>
            <pc:docMk/>
            <pc:sldMk cId="0" sldId="887"/>
            <ac:cxnSpMk id="54" creationId="{AA8DDFF8-AB1D-4058-90CC-4FA3ED0AEF74}"/>
          </ac:cxnSpMkLst>
        </pc:cxnChg>
        <pc:cxnChg chg="mod topLvl">
          <ac:chgData name="Bruno Hunkeler" userId="aa893333c5787da3" providerId="LiveId" clId="{7E79ACA8-943A-4A57-B885-0EB06BDD93E2}" dt="2021-01-12T19:45:02.978" v="2120" actId="164"/>
          <ac:cxnSpMkLst>
            <pc:docMk/>
            <pc:sldMk cId="0" sldId="887"/>
            <ac:cxnSpMk id="55" creationId="{8EB8B956-EFB4-432F-AD1E-5B79B435DB5D}"/>
          </ac:cxnSpMkLst>
        </pc:cxnChg>
        <pc:cxnChg chg="mod topLvl">
          <ac:chgData name="Bruno Hunkeler" userId="aa893333c5787da3" providerId="LiveId" clId="{7E79ACA8-943A-4A57-B885-0EB06BDD93E2}" dt="2021-01-12T19:45:02.978" v="2120" actId="164"/>
          <ac:cxnSpMkLst>
            <pc:docMk/>
            <pc:sldMk cId="0" sldId="887"/>
            <ac:cxnSpMk id="61" creationId="{F2163870-D7FB-4F69-B0A7-D2D0FA53B4E4}"/>
          </ac:cxnSpMkLst>
        </pc:cxnChg>
        <pc:cxnChg chg="mod topLvl">
          <ac:chgData name="Bruno Hunkeler" userId="aa893333c5787da3" providerId="LiveId" clId="{7E79ACA8-943A-4A57-B885-0EB06BDD93E2}" dt="2021-01-12T19:45:02.978" v="2120" actId="164"/>
          <ac:cxnSpMkLst>
            <pc:docMk/>
            <pc:sldMk cId="0" sldId="887"/>
            <ac:cxnSpMk id="62" creationId="{BC09C205-D42C-44D7-B335-E4C7B5A1CE80}"/>
          </ac:cxnSpMkLst>
        </pc:cxnChg>
        <pc:cxnChg chg="mod ord topLvl">
          <ac:chgData name="Bruno Hunkeler" userId="aa893333c5787da3" providerId="LiveId" clId="{7E79ACA8-943A-4A57-B885-0EB06BDD93E2}" dt="2021-01-12T19:45:02.978" v="2120" actId="164"/>
          <ac:cxnSpMkLst>
            <pc:docMk/>
            <pc:sldMk cId="0" sldId="887"/>
            <ac:cxnSpMk id="68" creationId="{265D8F6D-6E2B-41CC-9879-0DA51428CD78}"/>
          </ac:cxnSpMkLst>
        </pc:cxnChg>
        <pc:cxnChg chg="mod topLvl">
          <ac:chgData name="Bruno Hunkeler" userId="aa893333c5787da3" providerId="LiveId" clId="{7E79ACA8-943A-4A57-B885-0EB06BDD93E2}" dt="2021-01-12T19:45:02.978" v="2120" actId="164"/>
          <ac:cxnSpMkLst>
            <pc:docMk/>
            <pc:sldMk cId="0" sldId="887"/>
            <ac:cxnSpMk id="70" creationId="{9C53CB79-B057-4BC7-AC1C-E9F65D42708C}"/>
          </ac:cxnSpMkLst>
        </pc:cxnChg>
        <pc:cxnChg chg="mod topLvl">
          <ac:chgData name="Bruno Hunkeler" userId="aa893333c5787da3" providerId="LiveId" clId="{7E79ACA8-943A-4A57-B885-0EB06BDD93E2}" dt="2021-01-12T19:45:02.978" v="2120" actId="164"/>
          <ac:cxnSpMkLst>
            <pc:docMk/>
            <pc:sldMk cId="0" sldId="887"/>
            <ac:cxnSpMk id="71" creationId="{13F64FE6-1A6E-4FE0-8B33-58FC8354A7AB}"/>
          </ac:cxnSpMkLst>
        </pc:cxnChg>
        <pc:cxnChg chg="mod topLvl">
          <ac:chgData name="Bruno Hunkeler" userId="aa893333c5787da3" providerId="LiveId" clId="{7E79ACA8-943A-4A57-B885-0EB06BDD93E2}" dt="2021-01-12T19:45:02.978" v="2120" actId="164"/>
          <ac:cxnSpMkLst>
            <pc:docMk/>
            <pc:sldMk cId="0" sldId="887"/>
            <ac:cxnSpMk id="76" creationId="{D778163B-FA3E-4856-B283-D0769EFD94CE}"/>
          </ac:cxnSpMkLst>
        </pc:cxnChg>
        <pc:cxnChg chg="mod topLvl">
          <ac:chgData name="Bruno Hunkeler" userId="aa893333c5787da3" providerId="LiveId" clId="{7E79ACA8-943A-4A57-B885-0EB06BDD93E2}" dt="2021-01-12T19:45:02.978" v="2120" actId="164"/>
          <ac:cxnSpMkLst>
            <pc:docMk/>
            <pc:sldMk cId="0" sldId="887"/>
            <ac:cxnSpMk id="78" creationId="{E1068795-8620-4B9B-854A-DDCEB999BB1F}"/>
          </ac:cxnSpMkLst>
        </pc:cxnChg>
        <pc:cxnChg chg="mod topLvl">
          <ac:chgData name="Bruno Hunkeler" userId="aa893333c5787da3" providerId="LiveId" clId="{7E79ACA8-943A-4A57-B885-0EB06BDD93E2}" dt="2021-01-12T19:45:02.978" v="2120" actId="164"/>
          <ac:cxnSpMkLst>
            <pc:docMk/>
            <pc:sldMk cId="0" sldId="887"/>
            <ac:cxnSpMk id="79" creationId="{6F3D7929-945A-41CF-9E52-EA55408D0410}"/>
          </ac:cxnSpMkLst>
        </pc:cxnChg>
      </pc:sldChg>
      <pc:sldChg chg="addSp delSp modSp mod">
        <pc:chgData name="Bruno Hunkeler" userId="aa893333c5787da3" providerId="LiveId" clId="{7E79ACA8-943A-4A57-B885-0EB06BDD93E2}" dt="2021-01-14T14:17:33.157" v="3985" actId="6549"/>
        <pc:sldMkLst>
          <pc:docMk/>
          <pc:sldMk cId="63696594" sldId="1071"/>
        </pc:sldMkLst>
        <pc:spChg chg="mod">
          <ac:chgData name="Bruno Hunkeler" userId="aa893333c5787da3" providerId="LiveId" clId="{7E79ACA8-943A-4A57-B885-0EB06BDD93E2}" dt="2021-01-05T15:54:28.456" v="1070" actId="108"/>
          <ac:spMkLst>
            <pc:docMk/>
            <pc:sldMk cId="63696594" sldId="1071"/>
            <ac:spMk id="3" creationId="{5075CCDD-0B8B-4039-9113-FB6B770C2EB1}"/>
          </ac:spMkLst>
        </pc:spChg>
        <pc:spChg chg="mod">
          <ac:chgData name="Bruno Hunkeler" userId="aa893333c5787da3" providerId="LiveId" clId="{7E79ACA8-943A-4A57-B885-0EB06BDD93E2}" dt="2021-01-14T14:17:33.157" v="3985" actId="6549"/>
          <ac:spMkLst>
            <pc:docMk/>
            <pc:sldMk cId="63696594" sldId="1071"/>
            <ac:spMk id="5" creationId="{7821041B-EF9D-425E-B55C-91DF15FA8C22}"/>
          </ac:spMkLst>
        </pc:spChg>
        <pc:spChg chg="add mod topLvl">
          <ac:chgData name="Bruno Hunkeler" userId="aa893333c5787da3" providerId="LiveId" clId="{7E79ACA8-943A-4A57-B885-0EB06BDD93E2}" dt="2021-01-13T06:03:28.944" v="2342" actId="1037"/>
          <ac:spMkLst>
            <pc:docMk/>
            <pc:sldMk cId="63696594" sldId="1071"/>
            <ac:spMk id="14" creationId="{560D4420-9A55-4576-A5C9-8CE6232842B4}"/>
          </ac:spMkLst>
        </pc:spChg>
        <pc:spChg chg="add mod topLvl">
          <ac:chgData name="Bruno Hunkeler" userId="aa893333c5787da3" providerId="LiveId" clId="{7E79ACA8-943A-4A57-B885-0EB06BDD93E2}" dt="2021-01-13T06:03:35.016" v="2345" actId="1037"/>
          <ac:spMkLst>
            <pc:docMk/>
            <pc:sldMk cId="63696594" sldId="1071"/>
            <ac:spMk id="15" creationId="{5F84E0AB-B526-4314-BC22-6107C9BC072F}"/>
          </ac:spMkLst>
        </pc:spChg>
        <pc:spChg chg="add mod topLvl">
          <ac:chgData name="Bruno Hunkeler" userId="aa893333c5787da3" providerId="LiveId" clId="{7E79ACA8-943A-4A57-B885-0EB06BDD93E2}" dt="2021-01-13T06:03:42.167" v="2348" actId="1037"/>
          <ac:spMkLst>
            <pc:docMk/>
            <pc:sldMk cId="63696594" sldId="1071"/>
            <ac:spMk id="16" creationId="{327F36F1-EB9D-4C40-A1D9-17140553B250}"/>
          </ac:spMkLst>
        </pc:spChg>
        <pc:spChg chg="add mod">
          <ac:chgData name="Bruno Hunkeler" userId="aa893333c5787da3" providerId="LiveId" clId="{7E79ACA8-943A-4A57-B885-0EB06BDD93E2}" dt="2021-01-13T06:03:13.136" v="2338" actId="1037"/>
          <ac:spMkLst>
            <pc:docMk/>
            <pc:sldMk cId="63696594" sldId="1071"/>
            <ac:spMk id="29" creationId="{F541D17C-A7D3-4ABE-BD68-85470CEBA0DB}"/>
          </ac:spMkLst>
        </pc:spChg>
        <pc:spChg chg="add mod">
          <ac:chgData name="Bruno Hunkeler" userId="aa893333c5787da3" providerId="LiveId" clId="{7E79ACA8-943A-4A57-B885-0EB06BDD93E2}" dt="2021-01-13T06:03:06.726" v="2336" actId="1037"/>
          <ac:spMkLst>
            <pc:docMk/>
            <pc:sldMk cId="63696594" sldId="1071"/>
            <ac:spMk id="40" creationId="{844F2DE0-C5CF-4E9A-8C40-80832C78EB52}"/>
          </ac:spMkLst>
        </pc:spChg>
        <pc:spChg chg="add mod">
          <ac:chgData name="Bruno Hunkeler" userId="aa893333c5787da3" providerId="LiveId" clId="{7E79ACA8-943A-4A57-B885-0EB06BDD93E2}" dt="2021-01-13T06:02:23.089" v="2325" actId="164"/>
          <ac:spMkLst>
            <pc:docMk/>
            <pc:sldMk cId="63696594" sldId="1071"/>
            <ac:spMk id="45" creationId="{74AAF497-5C49-46C1-A657-7A757F6B4C02}"/>
          </ac:spMkLst>
        </pc:spChg>
        <pc:grpChg chg="add del mod">
          <ac:chgData name="Bruno Hunkeler" userId="aa893333c5787da3" providerId="LiveId" clId="{7E79ACA8-943A-4A57-B885-0EB06BDD93E2}" dt="2021-01-13T05:53:47.107" v="2257" actId="165"/>
          <ac:grpSpMkLst>
            <pc:docMk/>
            <pc:sldMk cId="63696594" sldId="1071"/>
            <ac:grpSpMk id="30" creationId="{72EFE234-651E-478F-8B80-CA35E6810E27}"/>
          </ac:grpSpMkLst>
        </pc:grpChg>
        <pc:grpChg chg="add del mod">
          <ac:chgData name="Bruno Hunkeler" userId="aa893333c5787da3" providerId="LiveId" clId="{7E79ACA8-943A-4A57-B885-0EB06BDD93E2}" dt="2021-01-13T05:56:19.306" v="2290" actId="165"/>
          <ac:grpSpMkLst>
            <pc:docMk/>
            <pc:sldMk cId="63696594" sldId="1071"/>
            <ac:grpSpMk id="31" creationId="{0EFAB86A-5E50-47E9-A507-357F35A80316}"/>
          </ac:grpSpMkLst>
        </pc:grpChg>
        <pc:grpChg chg="add mod">
          <ac:chgData name="Bruno Hunkeler" userId="aa893333c5787da3" providerId="LiveId" clId="{7E79ACA8-943A-4A57-B885-0EB06BDD93E2}" dt="2021-01-13T06:02:23.089" v="2325" actId="164"/>
          <ac:grpSpMkLst>
            <pc:docMk/>
            <pc:sldMk cId="63696594" sldId="1071"/>
            <ac:grpSpMk id="44" creationId="{71B10740-73F4-4E1B-A7B4-162EC575C215}"/>
          </ac:grpSpMkLst>
        </pc:grpChg>
        <pc:grpChg chg="add mod">
          <ac:chgData name="Bruno Hunkeler" userId="aa893333c5787da3" providerId="LiveId" clId="{7E79ACA8-943A-4A57-B885-0EB06BDD93E2}" dt="2021-01-13T06:02:23.089" v="2325" actId="164"/>
          <ac:grpSpMkLst>
            <pc:docMk/>
            <pc:sldMk cId="63696594" sldId="1071"/>
            <ac:grpSpMk id="46" creationId="{E37B7D30-F1DE-49B6-958E-9B74BC9B4248}"/>
          </ac:grpSpMkLst>
        </pc:grpChg>
        <pc:picChg chg="add mod topLvl">
          <ac:chgData name="Bruno Hunkeler" userId="aa893333c5787da3" providerId="LiveId" clId="{7E79ACA8-943A-4A57-B885-0EB06BDD93E2}" dt="2021-01-13T05:57:59.249" v="2307" actId="164"/>
          <ac:picMkLst>
            <pc:docMk/>
            <pc:sldMk cId="63696594" sldId="1071"/>
            <ac:picMk id="4" creationId="{862298AC-D405-4A13-B2F1-93B7867A4EE8}"/>
          </ac:picMkLst>
        </pc:picChg>
        <pc:picChg chg="add mod topLvl">
          <ac:chgData name="Bruno Hunkeler" userId="aa893333c5787da3" providerId="LiveId" clId="{7E79ACA8-943A-4A57-B885-0EB06BDD93E2}" dt="2021-01-13T05:57:59.249" v="2307" actId="164"/>
          <ac:picMkLst>
            <pc:docMk/>
            <pc:sldMk cId="63696594" sldId="1071"/>
            <ac:picMk id="6" creationId="{CB1A4799-CC92-4AE1-B161-4ACC2AC4043B}"/>
          </ac:picMkLst>
        </pc:picChg>
        <pc:picChg chg="add mod topLvl">
          <ac:chgData name="Bruno Hunkeler" userId="aa893333c5787da3" providerId="LiveId" clId="{7E79ACA8-943A-4A57-B885-0EB06BDD93E2}" dt="2021-01-13T05:57:59.249" v="2307" actId="164"/>
          <ac:picMkLst>
            <pc:docMk/>
            <pc:sldMk cId="63696594" sldId="1071"/>
            <ac:picMk id="7" creationId="{72E20580-E722-4A22-AB7E-371BA9D41DBE}"/>
          </ac:picMkLst>
        </pc:picChg>
        <pc:picChg chg="add mod topLvl">
          <ac:chgData name="Bruno Hunkeler" userId="aa893333c5787da3" providerId="LiveId" clId="{7E79ACA8-943A-4A57-B885-0EB06BDD93E2}" dt="2021-01-13T05:57:59.249" v="2307" actId="164"/>
          <ac:picMkLst>
            <pc:docMk/>
            <pc:sldMk cId="63696594" sldId="1071"/>
            <ac:picMk id="9" creationId="{B2548F27-A5CB-4517-8E7B-983D67736C4D}"/>
          </ac:picMkLst>
        </pc:picChg>
        <pc:picChg chg="add del mod">
          <ac:chgData name="Bruno Hunkeler" userId="aa893333c5787da3" providerId="LiveId" clId="{7E79ACA8-943A-4A57-B885-0EB06BDD93E2}" dt="2021-01-13T05:49:58.329" v="2213" actId="478"/>
          <ac:picMkLst>
            <pc:docMk/>
            <pc:sldMk cId="63696594" sldId="1071"/>
            <ac:picMk id="10" creationId="{0A512010-4300-4BD9-A3A1-2219C33F0771}"/>
          </ac:picMkLst>
        </pc:picChg>
        <pc:picChg chg="add del mod">
          <ac:chgData name="Bruno Hunkeler" userId="aa893333c5787da3" providerId="LiveId" clId="{7E79ACA8-943A-4A57-B885-0EB06BDD93E2}" dt="2021-01-13T05:49:59.402" v="2214" actId="478"/>
          <ac:picMkLst>
            <pc:docMk/>
            <pc:sldMk cId="63696594" sldId="1071"/>
            <ac:picMk id="11" creationId="{1B0FCFC7-3608-4B9A-B9B0-8B33058CE33C}"/>
          </ac:picMkLst>
        </pc:picChg>
        <pc:picChg chg="add mod topLvl">
          <ac:chgData name="Bruno Hunkeler" userId="aa893333c5787da3" providerId="LiveId" clId="{7E79ACA8-943A-4A57-B885-0EB06BDD93E2}" dt="2021-01-13T05:57:59.249" v="2307" actId="164"/>
          <ac:picMkLst>
            <pc:docMk/>
            <pc:sldMk cId="63696594" sldId="1071"/>
            <ac:picMk id="12" creationId="{5B36456A-6F0E-4DC6-94A7-72F229D80F84}"/>
          </ac:picMkLst>
        </pc:picChg>
        <pc:picChg chg="add mod topLvl">
          <ac:chgData name="Bruno Hunkeler" userId="aa893333c5787da3" providerId="LiveId" clId="{7E79ACA8-943A-4A57-B885-0EB06BDD93E2}" dt="2021-01-13T05:57:59.249" v="2307" actId="164"/>
          <ac:picMkLst>
            <pc:docMk/>
            <pc:sldMk cId="63696594" sldId="1071"/>
            <ac:picMk id="13" creationId="{7DA88EA2-27D1-4D60-95B8-789D6B1A4DBE}"/>
          </ac:picMkLst>
        </pc:picChg>
        <pc:picChg chg="add mod">
          <ac:chgData name="Bruno Hunkeler" userId="aa893333c5787da3" providerId="LiveId" clId="{7E79ACA8-943A-4A57-B885-0EB06BDD93E2}" dt="2021-01-13T05:57:59.249" v="2307" actId="164"/>
          <ac:picMkLst>
            <pc:docMk/>
            <pc:sldMk cId="63696594" sldId="1071"/>
            <ac:picMk id="18" creationId="{039A553A-C65F-4629-AB8E-1A2EFCF8C4B7}"/>
          </ac:picMkLst>
        </pc:picChg>
        <pc:picChg chg="add mod">
          <ac:chgData name="Bruno Hunkeler" userId="aa893333c5787da3" providerId="LiveId" clId="{7E79ACA8-943A-4A57-B885-0EB06BDD93E2}" dt="2021-01-13T05:57:59.249" v="2307" actId="164"/>
          <ac:picMkLst>
            <pc:docMk/>
            <pc:sldMk cId="63696594" sldId="1071"/>
            <ac:picMk id="36" creationId="{81CAD4F0-AC29-474A-B9C3-EF2CD556D8F0}"/>
          </ac:picMkLst>
        </pc:picChg>
        <pc:cxnChg chg="add mod">
          <ac:chgData name="Bruno Hunkeler" userId="aa893333c5787da3" providerId="LiveId" clId="{7E79ACA8-943A-4A57-B885-0EB06BDD93E2}" dt="2021-01-13T06:03:28.944" v="2342" actId="1037"/>
          <ac:cxnSpMkLst>
            <pc:docMk/>
            <pc:sldMk cId="63696594" sldId="1071"/>
            <ac:cxnSpMk id="20" creationId="{86FE3203-D5A6-4938-A4C3-173C18D533D0}"/>
          </ac:cxnSpMkLst>
        </pc:cxnChg>
        <pc:cxnChg chg="add mod">
          <ac:chgData name="Bruno Hunkeler" userId="aa893333c5787da3" providerId="LiveId" clId="{7E79ACA8-943A-4A57-B885-0EB06BDD93E2}" dt="2021-01-13T06:03:35.016" v="2345" actId="1037"/>
          <ac:cxnSpMkLst>
            <pc:docMk/>
            <pc:sldMk cId="63696594" sldId="1071"/>
            <ac:cxnSpMk id="21" creationId="{4CEBCBE4-4419-4FB7-ADD4-2C8999EDC72E}"/>
          </ac:cxnSpMkLst>
        </pc:cxnChg>
        <pc:cxnChg chg="add mod">
          <ac:chgData name="Bruno Hunkeler" userId="aa893333c5787da3" providerId="LiveId" clId="{7E79ACA8-943A-4A57-B885-0EB06BDD93E2}" dt="2021-01-13T06:03:42.167" v="2348" actId="1037"/>
          <ac:cxnSpMkLst>
            <pc:docMk/>
            <pc:sldMk cId="63696594" sldId="1071"/>
            <ac:cxnSpMk id="25" creationId="{0746A841-EF00-46E3-A1E5-7194FDBD2DE5}"/>
          </ac:cxnSpMkLst>
        </pc:cxnChg>
        <pc:cxnChg chg="add mod">
          <ac:chgData name="Bruno Hunkeler" userId="aa893333c5787da3" providerId="LiveId" clId="{7E79ACA8-943A-4A57-B885-0EB06BDD93E2}" dt="2021-01-13T05:57:59.249" v="2307" actId="164"/>
          <ac:cxnSpMkLst>
            <pc:docMk/>
            <pc:sldMk cId="63696594" sldId="1071"/>
            <ac:cxnSpMk id="37" creationId="{4DDC3760-9CE6-41FC-8028-417025F35F28}"/>
          </ac:cxnSpMkLst>
        </pc:cxnChg>
      </pc:sldChg>
      <pc:sldChg chg="addSp delSp modSp del mod">
        <pc:chgData name="Bruno Hunkeler" userId="aa893333c5787da3" providerId="LiveId" clId="{7E79ACA8-943A-4A57-B885-0EB06BDD93E2}" dt="2021-01-12T20:30:47.075" v="2176" actId="47"/>
        <pc:sldMkLst>
          <pc:docMk/>
          <pc:sldMk cId="1444301760" sldId="1074"/>
        </pc:sldMkLst>
        <pc:spChg chg="del">
          <ac:chgData name="Bruno Hunkeler" userId="aa893333c5787da3" providerId="LiveId" clId="{7E79ACA8-943A-4A57-B885-0EB06BDD93E2}" dt="2021-01-05T15:50:48.211" v="1050" actId="478"/>
          <ac:spMkLst>
            <pc:docMk/>
            <pc:sldMk cId="1444301760" sldId="1074"/>
            <ac:spMk id="3" creationId="{97053C15-9486-4E17-83A8-DACC30539D4C}"/>
          </ac:spMkLst>
        </pc:spChg>
        <pc:spChg chg="del">
          <ac:chgData name="Bruno Hunkeler" userId="aa893333c5787da3" providerId="LiveId" clId="{7E79ACA8-943A-4A57-B885-0EB06BDD93E2}" dt="2021-01-05T15:50:52.044" v="1051" actId="478"/>
          <ac:spMkLst>
            <pc:docMk/>
            <pc:sldMk cId="1444301760" sldId="1074"/>
            <ac:spMk id="5" creationId="{1B2D55BE-DCB8-4493-8C26-1896DEB12BB7}"/>
          </ac:spMkLst>
        </pc:spChg>
        <pc:spChg chg="del">
          <ac:chgData name="Bruno Hunkeler" userId="aa893333c5787da3" providerId="LiveId" clId="{7E79ACA8-943A-4A57-B885-0EB06BDD93E2}" dt="2021-01-05T15:50:52.044" v="1051" actId="478"/>
          <ac:spMkLst>
            <pc:docMk/>
            <pc:sldMk cId="1444301760" sldId="1074"/>
            <ac:spMk id="41" creationId="{F28278ED-5296-4380-AEA7-20189DFA17C3}"/>
          </ac:spMkLst>
        </pc:spChg>
        <pc:spChg chg="del">
          <ac:chgData name="Bruno Hunkeler" userId="aa893333c5787da3" providerId="LiveId" clId="{7E79ACA8-943A-4A57-B885-0EB06BDD93E2}" dt="2021-01-05T15:50:52.044" v="1051" actId="478"/>
          <ac:spMkLst>
            <pc:docMk/>
            <pc:sldMk cId="1444301760" sldId="1074"/>
            <ac:spMk id="84" creationId="{E10D0714-3431-41E8-A20C-7DE30F589D9B}"/>
          </ac:spMkLst>
        </pc:spChg>
        <pc:spChg chg="del">
          <ac:chgData name="Bruno Hunkeler" userId="aa893333c5787da3" providerId="LiveId" clId="{7E79ACA8-943A-4A57-B885-0EB06BDD93E2}" dt="2021-01-05T15:50:52.044" v="1051" actId="478"/>
          <ac:spMkLst>
            <pc:docMk/>
            <pc:sldMk cId="1444301760" sldId="1074"/>
            <ac:spMk id="87" creationId="{5D9F9643-75D0-4F66-AFF5-2A8987E60E0C}"/>
          </ac:spMkLst>
        </pc:spChg>
        <pc:spChg chg="del">
          <ac:chgData name="Bruno Hunkeler" userId="aa893333c5787da3" providerId="LiveId" clId="{7E79ACA8-943A-4A57-B885-0EB06BDD93E2}" dt="2021-01-05T15:50:52.044" v="1051" actId="478"/>
          <ac:spMkLst>
            <pc:docMk/>
            <pc:sldMk cId="1444301760" sldId="1074"/>
            <ac:spMk id="90" creationId="{32956190-0BF7-498F-BCF8-8A2B810911DD}"/>
          </ac:spMkLst>
        </pc:spChg>
        <pc:spChg chg="mod">
          <ac:chgData name="Bruno Hunkeler" userId="aa893333c5787da3" providerId="LiveId" clId="{7E79ACA8-943A-4A57-B885-0EB06BDD93E2}" dt="2021-01-05T15:54:50.728" v="1071" actId="108"/>
          <ac:spMkLst>
            <pc:docMk/>
            <pc:sldMk cId="1444301760" sldId="1074"/>
            <ac:spMk id="4099" creationId="{00000000-0000-0000-0000-000000000000}"/>
          </ac:spMkLst>
        </pc:spChg>
        <pc:grpChg chg="del">
          <ac:chgData name="Bruno Hunkeler" userId="aa893333c5787da3" providerId="LiveId" clId="{7E79ACA8-943A-4A57-B885-0EB06BDD93E2}" dt="2021-01-05T15:50:46.444" v="1049" actId="478"/>
          <ac:grpSpMkLst>
            <pc:docMk/>
            <pc:sldMk cId="1444301760" sldId="1074"/>
            <ac:grpSpMk id="4108" creationId="{21F8518E-E48C-4A33-82E4-AFCAD4E1637C}"/>
          </ac:grpSpMkLst>
        </pc:grpChg>
        <pc:picChg chg="add del mod">
          <ac:chgData name="Bruno Hunkeler" userId="aa893333c5787da3" providerId="LiveId" clId="{7E79ACA8-943A-4A57-B885-0EB06BDD93E2}" dt="2021-01-12T12:28:02.460" v="1803" actId="478"/>
          <ac:picMkLst>
            <pc:docMk/>
            <pc:sldMk cId="1444301760" sldId="1074"/>
            <ac:picMk id="3" creationId="{C5950ADD-C993-4645-B9B7-7997AAFB7BC3}"/>
          </ac:picMkLst>
        </pc:picChg>
        <pc:picChg chg="add mod">
          <ac:chgData name="Bruno Hunkeler" userId="aa893333c5787da3" providerId="LiveId" clId="{7E79ACA8-943A-4A57-B885-0EB06BDD93E2}" dt="2021-01-12T12:28:18.455" v="1808" actId="1076"/>
          <ac:picMkLst>
            <pc:docMk/>
            <pc:sldMk cId="1444301760" sldId="1074"/>
            <ac:picMk id="5" creationId="{19ADDD8A-E4F3-45D5-A6A7-2A5EA39AD91B}"/>
          </ac:picMkLst>
        </pc:picChg>
        <pc:cxnChg chg="mod">
          <ac:chgData name="Bruno Hunkeler" userId="aa893333c5787da3" providerId="LiveId" clId="{7E79ACA8-943A-4A57-B885-0EB06BDD93E2}" dt="2021-01-05T15:50:46.444" v="1049" actId="478"/>
          <ac:cxnSpMkLst>
            <pc:docMk/>
            <pc:sldMk cId="1444301760" sldId="1074"/>
            <ac:cxnSpMk id="9" creationId="{B557EDEB-BD55-4E91-B645-8892C101B34E}"/>
          </ac:cxnSpMkLst>
        </pc:cxnChg>
        <pc:cxnChg chg="mod">
          <ac:chgData name="Bruno Hunkeler" userId="aa893333c5787da3" providerId="LiveId" clId="{7E79ACA8-943A-4A57-B885-0EB06BDD93E2}" dt="2021-01-05T15:50:46.444" v="1049" actId="478"/>
          <ac:cxnSpMkLst>
            <pc:docMk/>
            <pc:sldMk cId="1444301760" sldId="1074"/>
            <ac:cxnSpMk id="21" creationId="{0A270CAB-CE87-42ED-A6F7-CF5CC82504BE}"/>
          </ac:cxnSpMkLst>
        </pc:cxnChg>
        <pc:cxnChg chg="mod">
          <ac:chgData name="Bruno Hunkeler" userId="aa893333c5787da3" providerId="LiveId" clId="{7E79ACA8-943A-4A57-B885-0EB06BDD93E2}" dt="2021-01-05T15:50:46.444" v="1049" actId="478"/>
          <ac:cxnSpMkLst>
            <pc:docMk/>
            <pc:sldMk cId="1444301760" sldId="1074"/>
            <ac:cxnSpMk id="35" creationId="{90B6FF48-586E-461B-9C48-9A87F0FFF13A}"/>
          </ac:cxnSpMkLst>
        </pc:cxnChg>
        <pc:cxnChg chg="mod">
          <ac:chgData name="Bruno Hunkeler" userId="aa893333c5787da3" providerId="LiveId" clId="{7E79ACA8-943A-4A57-B885-0EB06BDD93E2}" dt="2021-01-05T15:50:46.444" v="1049" actId="478"/>
          <ac:cxnSpMkLst>
            <pc:docMk/>
            <pc:sldMk cId="1444301760" sldId="1074"/>
            <ac:cxnSpMk id="39" creationId="{D74F241B-6400-4433-9125-974975E0754A}"/>
          </ac:cxnSpMkLst>
        </pc:cxnChg>
        <pc:cxnChg chg="mod">
          <ac:chgData name="Bruno Hunkeler" userId="aa893333c5787da3" providerId="LiveId" clId="{7E79ACA8-943A-4A57-B885-0EB06BDD93E2}" dt="2021-01-05T15:50:46.444" v="1049" actId="478"/>
          <ac:cxnSpMkLst>
            <pc:docMk/>
            <pc:sldMk cId="1444301760" sldId="1074"/>
            <ac:cxnSpMk id="42" creationId="{2960DB58-83D8-4B09-A58B-9EE957DF25D3}"/>
          </ac:cxnSpMkLst>
        </pc:cxnChg>
        <pc:cxnChg chg="mod">
          <ac:chgData name="Bruno Hunkeler" userId="aa893333c5787da3" providerId="LiveId" clId="{7E79ACA8-943A-4A57-B885-0EB06BDD93E2}" dt="2021-01-05T15:50:46.444" v="1049" actId="478"/>
          <ac:cxnSpMkLst>
            <pc:docMk/>
            <pc:sldMk cId="1444301760" sldId="1074"/>
            <ac:cxnSpMk id="49" creationId="{D70B0FFB-07D3-412A-B671-37258814EE48}"/>
          </ac:cxnSpMkLst>
        </pc:cxnChg>
        <pc:cxnChg chg="mod">
          <ac:chgData name="Bruno Hunkeler" userId="aa893333c5787da3" providerId="LiveId" clId="{7E79ACA8-943A-4A57-B885-0EB06BDD93E2}" dt="2021-01-05T15:50:46.444" v="1049" actId="478"/>
          <ac:cxnSpMkLst>
            <pc:docMk/>
            <pc:sldMk cId="1444301760" sldId="1074"/>
            <ac:cxnSpMk id="52" creationId="{E5A3971C-DBFA-4117-B66E-3480DA02C6F2}"/>
          </ac:cxnSpMkLst>
        </pc:cxnChg>
        <pc:cxnChg chg="mod">
          <ac:chgData name="Bruno Hunkeler" userId="aa893333c5787da3" providerId="LiveId" clId="{7E79ACA8-943A-4A57-B885-0EB06BDD93E2}" dt="2021-01-05T15:50:46.444" v="1049" actId="478"/>
          <ac:cxnSpMkLst>
            <pc:docMk/>
            <pc:sldMk cId="1444301760" sldId="1074"/>
            <ac:cxnSpMk id="56" creationId="{08C7B617-D95C-42D4-BC99-2EA43D350201}"/>
          </ac:cxnSpMkLst>
        </pc:cxnChg>
        <pc:cxnChg chg="mod">
          <ac:chgData name="Bruno Hunkeler" userId="aa893333c5787da3" providerId="LiveId" clId="{7E79ACA8-943A-4A57-B885-0EB06BDD93E2}" dt="2021-01-05T15:50:46.444" v="1049" actId="478"/>
          <ac:cxnSpMkLst>
            <pc:docMk/>
            <pc:sldMk cId="1444301760" sldId="1074"/>
            <ac:cxnSpMk id="64" creationId="{596086A1-17FA-4519-9B72-FBE2C54BA61E}"/>
          </ac:cxnSpMkLst>
        </pc:cxnChg>
        <pc:cxnChg chg="mod">
          <ac:chgData name="Bruno Hunkeler" userId="aa893333c5787da3" providerId="LiveId" clId="{7E79ACA8-943A-4A57-B885-0EB06BDD93E2}" dt="2021-01-05T15:50:46.444" v="1049" actId="478"/>
          <ac:cxnSpMkLst>
            <pc:docMk/>
            <pc:sldMk cId="1444301760" sldId="1074"/>
            <ac:cxnSpMk id="67" creationId="{CD3C1E59-7C1E-49AC-AF7E-39B8664365BB}"/>
          </ac:cxnSpMkLst>
        </pc:cxnChg>
        <pc:cxnChg chg="mod">
          <ac:chgData name="Bruno Hunkeler" userId="aa893333c5787da3" providerId="LiveId" clId="{7E79ACA8-943A-4A57-B885-0EB06BDD93E2}" dt="2021-01-05T15:50:46.444" v="1049" actId="478"/>
          <ac:cxnSpMkLst>
            <pc:docMk/>
            <pc:sldMk cId="1444301760" sldId="1074"/>
            <ac:cxnSpMk id="77" creationId="{3C0EE011-236D-43B9-BB8E-93713CF4402D}"/>
          </ac:cxnSpMkLst>
        </pc:cxnChg>
        <pc:cxnChg chg="mod">
          <ac:chgData name="Bruno Hunkeler" userId="aa893333c5787da3" providerId="LiveId" clId="{7E79ACA8-943A-4A57-B885-0EB06BDD93E2}" dt="2021-01-05T15:50:46.444" v="1049" actId="478"/>
          <ac:cxnSpMkLst>
            <pc:docMk/>
            <pc:sldMk cId="1444301760" sldId="1074"/>
            <ac:cxnSpMk id="4101" creationId="{07AE343B-26F5-4979-A748-09528D7F9024}"/>
          </ac:cxnSpMkLst>
        </pc:cxnChg>
      </pc:sldChg>
      <pc:sldChg chg="addSp delSp modSp mod">
        <pc:chgData name="Bruno Hunkeler" userId="aa893333c5787da3" providerId="LiveId" clId="{7E79ACA8-943A-4A57-B885-0EB06BDD93E2}" dt="2021-01-14T13:02:36.278" v="3138" actId="179"/>
        <pc:sldMkLst>
          <pc:docMk/>
          <pc:sldMk cId="476133532" sldId="1076"/>
        </pc:sldMkLst>
        <pc:spChg chg="add del mod">
          <ac:chgData name="Bruno Hunkeler" userId="aa893333c5787da3" providerId="LiveId" clId="{7E79ACA8-943A-4A57-B885-0EB06BDD93E2}" dt="2021-01-14T13:00:29.973" v="3113" actId="478"/>
          <ac:spMkLst>
            <pc:docMk/>
            <pc:sldMk cId="476133532" sldId="1076"/>
            <ac:spMk id="2" creationId="{9F3588A7-76E7-48C9-B369-E971D16118A6}"/>
          </ac:spMkLst>
        </pc:spChg>
        <pc:spChg chg="mod">
          <ac:chgData name="Bruno Hunkeler" userId="aa893333c5787da3" providerId="LiveId" clId="{7E79ACA8-943A-4A57-B885-0EB06BDD93E2}" dt="2021-01-14T13:02:36.278" v="3138" actId="179"/>
          <ac:spMkLst>
            <pc:docMk/>
            <pc:sldMk cId="476133532" sldId="1076"/>
            <ac:spMk id="12" creationId="{F30323FC-558B-4C68-A426-D65A6BB4F0A0}"/>
          </ac:spMkLst>
        </pc:spChg>
        <pc:spChg chg="mod">
          <ac:chgData name="Bruno Hunkeler" userId="aa893333c5787da3" providerId="LiveId" clId="{7E79ACA8-943A-4A57-B885-0EB06BDD93E2}" dt="2021-01-05T15:55:15.285" v="1073"/>
          <ac:spMkLst>
            <pc:docMk/>
            <pc:sldMk cId="476133532" sldId="1076"/>
            <ac:spMk id="4099" creationId="{00000000-0000-0000-0000-000000000000}"/>
          </ac:spMkLst>
        </pc:spChg>
        <pc:picChg chg="add del mod">
          <ac:chgData name="Bruno Hunkeler" userId="aa893333c5787da3" providerId="LiveId" clId="{7E79ACA8-943A-4A57-B885-0EB06BDD93E2}" dt="2021-01-12T20:29:22.821" v="2173" actId="478"/>
          <ac:picMkLst>
            <pc:docMk/>
            <pc:sldMk cId="476133532" sldId="1076"/>
            <ac:picMk id="3" creationId="{3DD9A404-8900-409C-8AFE-778B92D9D388}"/>
          </ac:picMkLst>
        </pc:picChg>
        <pc:picChg chg="add del mod">
          <ac:chgData name="Bruno Hunkeler" userId="aa893333c5787da3" providerId="LiveId" clId="{7E79ACA8-943A-4A57-B885-0EB06BDD93E2}" dt="2021-01-05T16:58:58.624" v="1146" actId="478"/>
          <ac:picMkLst>
            <pc:docMk/>
            <pc:sldMk cId="476133532" sldId="1076"/>
            <ac:picMk id="5" creationId="{BD8A57A7-081A-45B6-84EF-77D0473AAB9F}"/>
          </ac:picMkLst>
        </pc:picChg>
        <pc:picChg chg="add del mod">
          <ac:chgData name="Bruno Hunkeler" userId="aa893333c5787da3" providerId="LiveId" clId="{7E79ACA8-943A-4A57-B885-0EB06BDD93E2}" dt="2021-01-12T20:29:22.821" v="2173" actId="478"/>
          <ac:picMkLst>
            <pc:docMk/>
            <pc:sldMk cId="476133532" sldId="1076"/>
            <ac:picMk id="6" creationId="{A3EDB928-02E3-4374-B5A5-69D7C5746CB2}"/>
          </ac:picMkLst>
        </pc:picChg>
        <pc:picChg chg="add del mod">
          <ac:chgData name="Bruno Hunkeler" userId="aa893333c5787da3" providerId="LiveId" clId="{7E79ACA8-943A-4A57-B885-0EB06BDD93E2}" dt="2021-01-05T16:56:03.418" v="1139" actId="478"/>
          <ac:picMkLst>
            <pc:docMk/>
            <pc:sldMk cId="476133532" sldId="1076"/>
            <ac:picMk id="7" creationId="{0EBBDD9B-326B-43DD-B2E4-DF9C46CE910F}"/>
          </ac:picMkLst>
        </pc:picChg>
        <pc:picChg chg="add del mod">
          <ac:chgData name="Bruno Hunkeler" userId="aa893333c5787da3" providerId="LiveId" clId="{7E79ACA8-943A-4A57-B885-0EB06BDD93E2}" dt="2021-01-12T20:29:22.821" v="2173" actId="478"/>
          <ac:picMkLst>
            <pc:docMk/>
            <pc:sldMk cId="476133532" sldId="1076"/>
            <ac:picMk id="9" creationId="{A167703E-A0BC-4C2B-9A37-2876B0E1EC48}"/>
          </ac:picMkLst>
        </pc:picChg>
        <pc:picChg chg="add del mod">
          <ac:chgData name="Bruno Hunkeler" userId="aa893333c5787da3" providerId="LiveId" clId="{7E79ACA8-943A-4A57-B885-0EB06BDD93E2}" dt="2021-01-12T20:29:22.821" v="2173" actId="478"/>
          <ac:picMkLst>
            <pc:docMk/>
            <pc:sldMk cId="476133532" sldId="1076"/>
            <ac:picMk id="11" creationId="{EA5D7101-1F5C-40E8-8C3F-284AB74DC84C}"/>
          </ac:picMkLst>
        </pc:picChg>
      </pc:sldChg>
      <pc:sldChg chg="addSp delSp modSp mod">
        <pc:chgData name="Bruno Hunkeler" userId="aa893333c5787da3" providerId="LiveId" clId="{7E79ACA8-943A-4A57-B885-0EB06BDD93E2}" dt="2021-01-14T14:23:00.459" v="4042" actId="20577"/>
        <pc:sldMkLst>
          <pc:docMk/>
          <pc:sldMk cId="170398626" sldId="1078"/>
        </pc:sldMkLst>
        <pc:spChg chg="mod">
          <ac:chgData name="Bruno Hunkeler" userId="aa893333c5787da3" providerId="LiveId" clId="{7E79ACA8-943A-4A57-B885-0EB06BDD93E2}" dt="2021-01-14T14:23:00.459" v="4042" actId="20577"/>
          <ac:spMkLst>
            <pc:docMk/>
            <pc:sldMk cId="170398626" sldId="1078"/>
            <ac:spMk id="3" creationId="{1C8C386D-5EAB-4EDF-989C-DF927C8170B5}"/>
          </ac:spMkLst>
        </pc:spChg>
        <pc:spChg chg="mod">
          <ac:chgData name="Bruno Hunkeler" userId="aa893333c5787da3" providerId="LiveId" clId="{7E79ACA8-943A-4A57-B885-0EB06BDD93E2}" dt="2021-01-14T14:08:13.031" v="3947" actId="20577"/>
          <ac:spMkLst>
            <pc:docMk/>
            <pc:sldMk cId="170398626" sldId="1078"/>
            <ac:spMk id="5" creationId="{22FA5B63-6B53-4B0A-BE64-EA2563DFFD7F}"/>
          </ac:spMkLst>
        </pc:spChg>
        <pc:spChg chg="del mod">
          <ac:chgData name="Bruno Hunkeler" userId="aa893333c5787da3" providerId="LiveId" clId="{7E79ACA8-943A-4A57-B885-0EB06BDD93E2}" dt="2021-01-05T15:51:02.219" v="1055" actId="478"/>
          <ac:spMkLst>
            <pc:docMk/>
            <pc:sldMk cId="170398626" sldId="1078"/>
            <ac:spMk id="11" creationId="{4056BE86-F89E-4DFC-A78B-1292BDEFFDE9}"/>
          </ac:spMkLst>
        </pc:spChg>
        <pc:spChg chg="del">
          <ac:chgData name="Bruno Hunkeler" userId="aa893333c5787da3" providerId="LiveId" clId="{7E79ACA8-943A-4A57-B885-0EB06BDD93E2}" dt="2021-01-05T15:50:59.655" v="1053" actId="478"/>
          <ac:spMkLst>
            <pc:docMk/>
            <pc:sldMk cId="170398626" sldId="1078"/>
            <ac:spMk id="13" creationId="{C3842403-6797-4521-B14E-DE92015F707C}"/>
          </ac:spMkLst>
        </pc:spChg>
        <pc:spChg chg="del">
          <ac:chgData name="Bruno Hunkeler" userId="aa893333c5787da3" providerId="LiveId" clId="{7E79ACA8-943A-4A57-B885-0EB06BDD93E2}" dt="2021-01-05T15:51:04.696" v="1056" actId="478"/>
          <ac:spMkLst>
            <pc:docMk/>
            <pc:sldMk cId="170398626" sldId="1078"/>
            <ac:spMk id="14" creationId="{AF347C5C-0CE0-4953-A8EF-10DE9F29C2FE}"/>
          </ac:spMkLst>
        </pc:spChg>
        <pc:grpChg chg="del">
          <ac:chgData name="Bruno Hunkeler" userId="aa893333c5787da3" providerId="LiveId" clId="{7E79ACA8-943A-4A57-B885-0EB06BDD93E2}" dt="2021-01-05T15:50:57.555" v="1052" actId="478"/>
          <ac:grpSpMkLst>
            <pc:docMk/>
            <pc:sldMk cId="170398626" sldId="1078"/>
            <ac:grpSpMk id="12" creationId="{BC3D3C5F-24C2-4D06-8DDE-352FD18F5285}"/>
          </ac:grpSpMkLst>
        </pc:grpChg>
        <pc:picChg chg="add del mod">
          <ac:chgData name="Bruno Hunkeler" userId="aa893333c5787da3" providerId="LiveId" clId="{7E79ACA8-943A-4A57-B885-0EB06BDD93E2}" dt="2021-01-05T16:46:27.024" v="1124" actId="478"/>
          <ac:picMkLst>
            <pc:docMk/>
            <pc:sldMk cId="170398626" sldId="1078"/>
            <ac:picMk id="10" creationId="{CF85F3C7-3F1F-4501-8AE1-C0DED5F6EED4}"/>
          </ac:picMkLst>
        </pc:picChg>
        <pc:picChg chg="add del mod">
          <ac:chgData name="Bruno Hunkeler" userId="aa893333c5787da3" providerId="LiveId" clId="{7E79ACA8-943A-4A57-B885-0EB06BDD93E2}" dt="2021-01-05T16:46:27.024" v="1124" actId="478"/>
          <ac:picMkLst>
            <pc:docMk/>
            <pc:sldMk cId="170398626" sldId="1078"/>
            <ac:picMk id="16" creationId="{0BFFB620-73D8-44E4-BCD7-26C209FC26BB}"/>
          </ac:picMkLst>
        </pc:picChg>
        <pc:picChg chg="add del mod">
          <ac:chgData name="Bruno Hunkeler" userId="aa893333c5787da3" providerId="LiveId" clId="{7E79ACA8-943A-4A57-B885-0EB06BDD93E2}" dt="2021-01-05T16:06:36.101" v="1116" actId="478"/>
          <ac:picMkLst>
            <pc:docMk/>
            <pc:sldMk cId="170398626" sldId="1078"/>
            <ac:picMk id="18" creationId="{FE1EF64D-9B0F-4023-A733-3A8857259F16}"/>
          </ac:picMkLst>
        </pc:picChg>
        <pc:picChg chg="add del mod">
          <ac:chgData name="Bruno Hunkeler" userId="aa893333c5787da3" providerId="LiveId" clId="{7E79ACA8-943A-4A57-B885-0EB06BDD93E2}" dt="2021-01-05T16:07:53.653" v="1122" actId="478"/>
          <ac:picMkLst>
            <pc:docMk/>
            <pc:sldMk cId="170398626" sldId="1078"/>
            <ac:picMk id="20" creationId="{C017B8F2-0814-4DF4-8E19-42B94707E86A}"/>
          </ac:picMkLst>
        </pc:picChg>
      </pc:sldChg>
      <pc:sldChg chg="modSp mod">
        <pc:chgData name="Bruno Hunkeler" userId="aa893333c5787da3" providerId="LiveId" clId="{7E79ACA8-943A-4A57-B885-0EB06BDD93E2}" dt="2021-01-14T14:18:26.248" v="3986"/>
        <pc:sldMkLst>
          <pc:docMk/>
          <pc:sldMk cId="0" sldId="1081"/>
        </pc:sldMkLst>
        <pc:spChg chg="mod">
          <ac:chgData name="Bruno Hunkeler" userId="aa893333c5787da3" providerId="LiveId" clId="{7E79ACA8-943A-4A57-B885-0EB06BDD93E2}" dt="2021-01-14T14:18:26.248" v="3986"/>
          <ac:spMkLst>
            <pc:docMk/>
            <pc:sldMk cId="0" sldId="1081"/>
            <ac:spMk id="3" creationId="{C619BCAB-476D-4EC9-89B2-6E5AA931949E}"/>
          </ac:spMkLst>
        </pc:spChg>
      </pc:sldChg>
      <pc:sldChg chg="del">
        <pc:chgData name="Bruno Hunkeler" userId="aa893333c5787da3" providerId="LiveId" clId="{7E79ACA8-943A-4A57-B885-0EB06BDD93E2}" dt="2021-01-05T15:53:10.355" v="1064" actId="47"/>
        <pc:sldMkLst>
          <pc:docMk/>
          <pc:sldMk cId="3130299444" sldId="1082"/>
        </pc:sldMkLst>
      </pc:sldChg>
      <pc:sldChg chg="addSp delSp modSp new del mod">
        <pc:chgData name="Bruno Hunkeler" userId="aa893333c5787da3" providerId="LiveId" clId="{7E79ACA8-943A-4A57-B885-0EB06BDD93E2}" dt="2021-01-14T09:58:13.015" v="3071" actId="47"/>
        <pc:sldMkLst>
          <pc:docMk/>
          <pc:sldMk cId="2575402525" sldId="1083"/>
        </pc:sldMkLst>
        <pc:spChg chg="mod">
          <ac:chgData name="Bruno Hunkeler" userId="aa893333c5787da3" providerId="LiveId" clId="{7E79ACA8-943A-4A57-B885-0EB06BDD93E2}" dt="2021-01-05T15:42:11.612" v="846"/>
          <ac:spMkLst>
            <pc:docMk/>
            <pc:sldMk cId="2575402525" sldId="1083"/>
            <ac:spMk id="3" creationId="{E02218E0-227F-49D7-AC3F-969C2DB2BA7D}"/>
          </ac:spMkLst>
        </pc:spChg>
        <pc:spChg chg="mod">
          <ac:chgData name="Bruno Hunkeler" userId="aa893333c5787da3" providerId="LiveId" clId="{7E79ACA8-943A-4A57-B885-0EB06BDD93E2}" dt="2021-01-05T15:42:11.612" v="846"/>
          <ac:spMkLst>
            <pc:docMk/>
            <pc:sldMk cId="2575402525" sldId="1083"/>
            <ac:spMk id="4" creationId="{4DD35370-93C5-43A2-8EC1-2B8FC687A3D9}"/>
          </ac:spMkLst>
        </pc:spChg>
        <pc:spChg chg="mod">
          <ac:chgData name="Bruno Hunkeler" userId="aa893333c5787da3" providerId="LiveId" clId="{7E79ACA8-943A-4A57-B885-0EB06BDD93E2}" dt="2021-01-05T15:42:11.612" v="846"/>
          <ac:spMkLst>
            <pc:docMk/>
            <pc:sldMk cId="2575402525" sldId="1083"/>
            <ac:spMk id="5" creationId="{7BCFAA3B-1A28-4450-A0C0-7F5BD818BF5A}"/>
          </ac:spMkLst>
        </pc:spChg>
        <pc:spChg chg="mod">
          <ac:chgData name="Bruno Hunkeler" userId="aa893333c5787da3" providerId="LiveId" clId="{7E79ACA8-943A-4A57-B885-0EB06BDD93E2}" dt="2021-01-05T15:42:11.612" v="846"/>
          <ac:spMkLst>
            <pc:docMk/>
            <pc:sldMk cId="2575402525" sldId="1083"/>
            <ac:spMk id="6" creationId="{DAFB021C-E4FB-42D1-8B4D-0E7ADB02A6B6}"/>
          </ac:spMkLst>
        </pc:spChg>
        <pc:spChg chg="mod">
          <ac:chgData name="Bruno Hunkeler" userId="aa893333c5787da3" providerId="LiveId" clId="{7E79ACA8-943A-4A57-B885-0EB06BDD93E2}" dt="2021-01-05T15:42:11.612" v="846"/>
          <ac:spMkLst>
            <pc:docMk/>
            <pc:sldMk cId="2575402525" sldId="1083"/>
            <ac:spMk id="10" creationId="{852C938C-1220-48D6-88E1-ADD647177898}"/>
          </ac:spMkLst>
        </pc:spChg>
        <pc:spChg chg="mod">
          <ac:chgData name="Bruno Hunkeler" userId="aa893333c5787da3" providerId="LiveId" clId="{7E79ACA8-943A-4A57-B885-0EB06BDD93E2}" dt="2021-01-05T15:42:11.612" v="846"/>
          <ac:spMkLst>
            <pc:docMk/>
            <pc:sldMk cId="2575402525" sldId="1083"/>
            <ac:spMk id="11" creationId="{84C302F4-1B2F-4379-9C0A-FD3E045D06BC}"/>
          </ac:spMkLst>
        </pc:spChg>
        <pc:spChg chg="mod">
          <ac:chgData name="Bruno Hunkeler" userId="aa893333c5787da3" providerId="LiveId" clId="{7E79ACA8-943A-4A57-B885-0EB06BDD93E2}" dt="2021-01-05T15:42:11.612" v="846"/>
          <ac:spMkLst>
            <pc:docMk/>
            <pc:sldMk cId="2575402525" sldId="1083"/>
            <ac:spMk id="12" creationId="{7C3F82A9-B48F-4D0F-B4BB-702F9BDF6B0A}"/>
          </ac:spMkLst>
        </pc:spChg>
        <pc:spChg chg="mod">
          <ac:chgData name="Bruno Hunkeler" userId="aa893333c5787da3" providerId="LiveId" clId="{7E79ACA8-943A-4A57-B885-0EB06BDD93E2}" dt="2021-01-05T15:42:11.612" v="846"/>
          <ac:spMkLst>
            <pc:docMk/>
            <pc:sldMk cId="2575402525" sldId="1083"/>
            <ac:spMk id="13" creationId="{2E2FE3A7-87CA-4553-BD4D-6D4EE0C119EC}"/>
          </ac:spMkLst>
        </pc:spChg>
        <pc:spChg chg="mod">
          <ac:chgData name="Bruno Hunkeler" userId="aa893333c5787da3" providerId="LiveId" clId="{7E79ACA8-943A-4A57-B885-0EB06BDD93E2}" dt="2021-01-05T15:42:11.612" v="846"/>
          <ac:spMkLst>
            <pc:docMk/>
            <pc:sldMk cId="2575402525" sldId="1083"/>
            <ac:spMk id="16" creationId="{6EDEFFF8-8FC1-48B7-8E89-E61CD7FF3789}"/>
          </ac:spMkLst>
        </pc:spChg>
        <pc:spChg chg="mod">
          <ac:chgData name="Bruno Hunkeler" userId="aa893333c5787da3" providerId="LiveId" clId="{7E79ACA8-943A-4A57-B885-0EB06BDD93E2}" dt="2021-01-05T15:42:11.612" v="846"/>
          <ac:spMkLst>
            <pc:docMk/>
            <pc:sldMk cId="2575402525" sldId="1083"/>
            <ac:spMk id="18" creationId="{CCC33D22-AB6D-46B3-AEDF-44DDD74DB31F}"/>
          </ac:spMkLst>
        </pc:spChg>
        <pc:spChg chg="mod">
          <ac:chgData name="Bruno Hunkeler" userId="aa893333c5787da3" providerId="LiveId" clId="{7E79ACA8-943A-4A57-B885-0EB06BDD93E2}" dt="2021-01-05T15:42:11.612" v="846"/>
          <ac:spMkLst>
            <pc:docMk/>
            <pc:sldMk cId="2575402525" sldId="1083"/>
            <ac:spMk id="21" creationId="{50A7EB5C-1A2D-428E-A07F-500ACE3B78B0}"/>
          </ac:spMkLst>
        </pc:spChg>
        <pc:spChg chg="mod">
          <ac:chgData name="Bruno Hunkeler" userId="aa893333c5787da3" providerId="LiveId" clId="{7E79ACA8-943A-4A57-B885-0EB06BDD93E2}" dt="2021-01-05T15:42:11.612" v="846"/>
          <ac:spMkLst>
            <pc:docMk/>
            <pc:sldMk cId="2575402525" sldId="1083"/>
            <ac:spMk id="22" creationId="{25D410FC-9B0E-40F6-A328-08EE549760AB}"/>
          </ac:spMkLst>
        </pc:spChg>
        <pc:spChg chg="mod">
          <ac:chgData name="Bruno Hunkeler" userId="aa893333c5787da3" providerId="LiveId" clId="{7E79ACA8-943A-4A57-B885-0EB06BDD93E2}" dt="2021-01-05T15:42:11.612" v="846"/>
          <ac:spMkLst>
            <pc:docMk/>
            <pc:sldMk cId="2575402525" sldId="1083"/>
            <ac:spMk id="23" creationId="{04007391-C12C-46EA-B7B3-2677C2FFD9DE}"/>
          </ac:spMkLst>
        </pc:spChg>
        <pc:spChg chg="mod">
          <ac:chgData name="Bruno Hunkeler" userId="aa893333c5787da3" providerId="LiveId" clId="{7E79ACA8-943A-4A57-B885-0EB06BDD93E2}" dt="2021-01-05T15:42:11.612" v="846"/>
          <ac:spMkLst>
            <pc:docMk/>
            <pc:sldMk cId="2575402525" sldId="1083"/>
            <ac:spMk id="24" creationId="{253B1189-92DC-43A8-A852-088BE0D274FA}"/>
          </ac:spMkLst>
        </pc:spChg>
        <pc:spChg chg="mod">
          <ac:chgData name="Bruno Hunkeler" userId="aa893333c5787da3" providerId="LiveId" clId="{7E79ACA8-943A-4A57-B885-0EB06BDD93E2}" dt="2021-01-05T15:42:11.612" v="846"/>
          <ac:spMkLst>
            <pc:docMk/>
            <pc:sldMk cId="2575402525" sldId="1083"/>
            <ac:spMk id="26" creationId="{0830C3AD-A1CB-4CED-A878-D84E19BAF087}"/>
          </ac:spMkLst>
        </pc:spChg>
        <pc:spChg chg="mod">
          <ac:chgData name="Bruno Hunkeler" userId="aa893333c5787da3" providerId="LiveId" clId="{7E79ACA8-943A-4A57-B885-0EB06BDD93E2}" dt="2021-01-05T15:42:11.612" v="846"/>
          <ac:spMkLst>
            <pc:docMk/>
            <pc:sldMk cId="2575402525" sldId="1083"/>
            <ac:spMk id="28" creationId="{18FB9F2C-2C88-42A3-99C5-49C0754EF82D}"/>
          </ac:spMkLst>
        </pc:spChg>
        <pc:spChg chg="mod topLvl">
          <ac:chgData name="Bruno Hunkeler" userId="aa893333c5787da3" providerId="LiveId" clId="{7E79ACA8-943A-4A57-B885-0EB06BDD93E2}" dt="2021-01-05T15:48:20.661" v="997" actId="164"/>
          <ac:spMkLst>
            <pc:docMk/>
            <pc:sldMk cId="2575402525" sldId="1083"/>
            <ac:spMk id="30" creationId="{AC3AE51B-4FBF-4552-AA20-E638E7FA1772}"/>
          </ac:spMkLst>
        </pc:spChg>
        <pc:spChg chg="mod topLvl">
          <ac:chgData name="Bruno Hunkeler" userId="aa893333c5787da3" providerId="LiveId" clId="{7E79ACA8-943A-4A57-B885-0EB06BDD93E2}" dt="2021-01-05T15:48:20.661" v="997" actId="164"/>
          <ac:spMkLst>
            <pc:docMk/>
            <pc:sldMk cId="2575402525" sldId="1083"/>
            <ac:spMk id="31" creationId="{2F9F6430-C6A3-41D8-A605-A111468A4537}"/>
          </ac:spMkLst>
        </pc:spChg>
        <pc:spChg chg="mod topLvl">
          <ac:chgData name="Bruno Hunkeler" userId="aa893333c5787da3" providerId="LiveId" clId="{7E79ACA8-943A-4A57-B885-0EB06BDD93E2}" dt="2021-01-05T15:48:20.661" v="997" actId="164"/>
          <ac:spMkLst>
            <pc:docMk/>
            <pc:sldMk cId="2575402525" sldId="1083"/>
            <ac:spMk id="32" creationId="{4B603732-BD29-4B70-9EE4-65312A7243B8}"/>
          </ac:spMkLst>
        </pc:spChg>
        <pc:spChg chg="mod topLvl">
          <ac:chgData name="Bruno Hunkeler" userId="aa893333c5787da3" providerId="LiveId" clId="{7E79ACA8-943A-4A57-B885-0EB06BDD93E2}" dt="2021-01-05T15:48:20.661" v="997" actId="164"/>
          <ac:spMkLst>
            <pc:docMk/>
            <pc:sldMk cId="2575402525" sldId="1083"/>
            <ac:spMk id="33" creationId="{C52C4A0F-C1A2-47DA-8742-8A20C62D21A3}"/>
          </ac:spMkLst>
        </pc:spChg>
        <pc:spChg chg="mod topLvl">
          <ac:chgData name="Bruno Hunkeler" userId="aa893333c5787da3" providerId="LiveId" clId="{7E79ACA8-943A-4A57-B885-0EB06BDD93E2}" dt="2021-01-05T15:48:20.661" v="997" actId="164"/>
          <ac:spMkLst>
            <pc:docMk/>
            <pc:sldMk cId="2575402525" sldId="1083"/>
            <ac:spMk id="37" creationId="{8BEEF263-B2CE-4A3A-937E-AA27FFAD33C7}"/>
          </ac:spMkLst>
        </pc:spChg>
        <pc:spChg chg="mod topLvl">
          <ac:chgData name="Bruno Hunkeler" userId="aa893333c5787da3" providerId="LiveId" clId="{7E79ACA8-943A-4A57-B885-0EB06BDD93E2}" dt="2021-01-05T15:48:20.661" v="997" actId="164"/>
          <ac:spMkLst>
            <pc:docMk/>
            <pc:sldMk cId="2575402525" sldId="1083"/>
            <ac:spMk id="38" creationId="{83C98139-68F2-4382-B1C0-D9BC4534E429}"/>
          </ac:spMkLst>
        </pc:spChg>
        <pc:spChg chg="mod topLvl">
          <ac:chgData name="Bruno Hunkeler" userId="aa893333c5787da3" providerId="LiveId" clId="{7E79ACA8-943A-4A57-B885-0EB06BDD93E2}" dt="2021-01-05T15:48:20.661" v="997" actId="164"/>
          <ac:spMkLst>
            <pc:docMk/>
            <pc:sldMk cId="2575402525" sldId="1083"/>
            <ac:spMk id="39" creationId="{3FC93B16-1FAE-469B-B435-A8BD23B7AD78}"/>
          </ac:spMkLst>
        </pc:spChg>
        <pc:spChg chg="mod topLvl">
          <ac:chgData name="Bruno Hunkeler" userId="aa893333c5787da3" providerId="LiveId" clId="{7E79ACA8-943A-4A57-B885-0EB06BDD93E2}" dt="2021-01-05T15:48:20.661" v="997" actId="164"/>
          <ac:spMkLst>
            <pc:docMk/>
            <pc:sldMk cId="2575402525" sldId="1083"/>
            <ac:spMk id="40" creationId="{D31F23AC-2AD9-43BA-8884-682BCC50EFF8}"/>
          </ac:spMkLst>
        </pc:spChg>
        <pc:spChg chg="mod topLvl">
          <ac:chgData name="Bruno Hunkeler" userId="aa893333c5787da3" providerId="LiveId" clId="{7E79ACA8-943A-4A57-B885-0EB06BDD93E2}" dt="2021-01-05T15:48:20.661" v="997" actId="164"/>
          <ac:spMkLst>
            <pc:docMk/>
            <pc:sldMk cId="2575402525" sldId="1083"/>
            <ac:spMk id="43" creationId="{E703F8C8-3BDC-483F-A741-541A0DD6B093}"/>
          </ac:spMkLst>
        </pc:spChg>
        <pc:spChg chg="mod topLvl">
          <ac:chgData name="Bruno Hunkeler" userId="aa893333c5787da3" providerId="LiveId" clId="{7E79ACA8-943A-4A57-B885-0EB06BDD93E2}" dt="2021-01-05T15:48:20.661" v="997" actId="164"/>
          <ac:spMkLst>
            <pc:docMk/>
            <pc:sldMk cId="2575402525" sldId="1083"/>
            <ac:spMk id="45" creationId="{DD890925-33C8-40CF-95C0-1A7C3545EFC4}"/>
          </ac:spMkLst>
        </pc:spChg>
        <pc:spChg chg="mod topLvl">
          <ac:chgData name="Bruno Hunkeler" userId="aa893333c5787da3" providerId="LiveId" clId="{7E79ACA8-943A-4A57-B885-0EB06BDD93E2}" dt="2021-01-05T15:48:20.661" v="997" actId="164"/>
          <ac:spMkLst>
            <pc:docMk/>
            <pc:sldMk cId="2575402525" sldId="1083"/>
            <ac:spMk id="48" creationId="{CC64E003-BF4D-4492-986C-F11AE389C35D}"/>
          </ac:spMkLst>
        </pc:spChg>
        <pc:spChg chg="mod topLvl">
          <ac:chgData name="Bruno Hunkeler" userId="aa893333c5787da3" providerId="LiveId" clId="{7E79ACA8-943A-4A57-B885-0EB06BDD93E2}" dt="2021-01-05T15:48:20.661" v="997" actId="164"/>
          <ac:spMkLst>
            <pc:docMk/>
            <pc:sldMk cId="2575402525" sldId="1083"/>
            <ac:spMk id="49" creationId="{5F7F1B50-C9E6-42C2-84E5-EABE569CCF3F}"/>
          </ac:spMkLst>
        </pc:spChg>
        <pc:spChg chg="mod topLvl">
          <ac:chgData name="Bruno Hunkeler" userId="aa893333c5787da3" providerId="LiveId" clId="{7E79ACA8-943A-4A57-B885-0EB06BDD93E2}" dt="2021-01-05T15:48:20.661" v="997" actId="164"/>
          <ac:spMkLst>
            <pc:docMk/>
            <pc:sldMk cId="2575402525" sldId="1083"/>
            <ac:spMk id="50" creationId="{4AE66C56-6F33-40CC-BD9D-A0938E58822A}"/>
          </ac:spMkLst>
        </pc:spChg>
        <pc:spChg chg="mod topLvl">
          <ac:chgData name="Bruno Hunkeler" userId="aa893333c5787da3" providerId="LiveId" clId="{7E79ACA8-943A-4A57-B885-0EB06BDD93E2}" dt="2021-01-05T15:48:20.661" v="997" actId="164"/>
          <ac:spMkLst>
            <pc:docMk/>
            <pc:sldMk cId="2575402525" sldId="1083"/>
            <ac:spMk id="51" creationId="{60340C6E-C952-40AF-B081-91277D8935A8}"/>
          </ac:spMkLst>
        </pc:spChg>
        <pc:spChg chg="mod">
          <ac:chgData name="Bruno Hunkeler" userId="aa893333c5787da3" providerId="LiveId" clId="{7E79ACA8-943A-4A57-B885-0EB06BDD93E2}" dt="2021-01-05T15:42:49.141" v="850" actId="165"/>
          <ac:spMkLst>
            <pc:docMk/>
            <pc:sldMk cId="2575402525" sldId="1083"/>
            <ac:spMk id="53" creationId="{541462D8-01A1-4B13-8B29-A1E8B41181D3}"/>
          </ac:spMkLst>
        </pc:spChg>
        <pc:spChg chg="mod">
          <ac:chgData name="Bruno Hunkeler" userId="aa893333c5787da3" providerId="LiveId" clId="{7E79ACA8-943A-4A57-B885-0EB06BDD93E2}" dt="2021-01-05T15:42:49.141" v="850" actId="165"/>
          <ac:spMkLst>
            <pc:docMk/>
            <pc:sldMk cId="2575402525" sldId="1083"/>
            <ac:spMk id="55" creationId="{2982EC25-078B-4ADE-B2EC-A836788B3A86}"/>
          </ac:spMkLst>
        </pc:spChg>
        <pc:spChg chg="add mod">
          <ac:chgData name="Bruno Hunkeler" userId="aa893333c5787da3" providerId="LiveId" clId="{7E79ACA8-943A-4A57-B885-0EB06BDD93E2}" dt="2021-01-05T15:48:20.661" v="997" actId="164"/>
          <ac:spMkLst>
            <pc:docMk/>
            <pc:sldMk cId="2575402525" sldId="1083"/>
            <ac:spMk id="56" creationId="{282EA6F6-7F9E-460A-8CAB-C1AF1BB13A64}"/>
          </ac:spMkLst>
        </pc:spChg>
        <pc:grpChg chg="add del mod">
          <ac:chgData name="Bruno Hunkeler" userId="aa893333c5787da3" providerId="LiveId" clId="{7E79ACA8-943A-4A57-B885-0EB06BDD93E2}" dt="2021-01-05T15:42:23.089" v="847"/>
          <ac:grpSpMkLst>
            <pc:docMk/>
            <pc:sldMk cId="2575402525" sldId="1083"/>
            <ac:grpSpMk id="2" creationId="{1B71FB5C-1351-4CC6-B24B-047A1BC522B9}"/>
          </ac:grpSpMkLst>
        </pc:grpChg>
        <pc:grpChg chg="mod">
          <ac:chgData name="Bruno Hunkeler" userId="aa893333c5787da3" providerId="LiveId" clId="{7E79ACA8-943A-4A57-B885-0EB06BDD93E2}" dt="2021-01-05T15:42:11.612" v="846"/>
          <ac:grpSpMkLst>
            <pc:docMk/>
            <pc:sldMk cId="2575402525" sldId="1083"/>
            <ac:grpSpMk id="7" creationId="{14EB54CB-DBD6-433C-BF8E-4970F636FF12}"/>
          </ac:grpSpMkLst>
        </pc:grpChg>
        <pc:grpChg chg="mod">
          <ac:chgData name="Bruno Hunkeler" userId="aa893333c5787da3" providerId="LiveId" clId="{7E79ACA8-943A-4A57-B885-0EB06BDD93E2}" dt="2021-01-05T15:42:11.612" v="846"/>
          <ac:grpSpMkLst>
            <pc:docMk/>
            <pc:sldMk cId="2575402525" sldId="1083"/>
            <ac:grpSpMk id="8" creationId="{3DF533E7-ED50-4678-AA62-99C941B21805}"/>
          </ac:grpSpMkLst>
        </pc:grpChg>
        <pc:grpChg chg="add del mod">
          <ac:chgData name="Bruno Hunkeler" userId="aa893333c5787da3" providerId="LiveId" clId="{7E79ACA8-943A-4A57-B885-0EB06BDD93E2}" dt="2021-01-05T15:42:49.141" v="850" actId="165"/>
          <ac:grpSpMkLst>
            <pc:docMk/>
            <pc:sldMk cId="2575402525" sldId="1083"/>
            <ac:grpSpMk id="29" creationId="{5B982105-C50F-40B0-8067-DE0C935F2730}"/>
          </ac:grpSpMkLst>
        </pc:grpChg>
        <pc:grpChg chg="mod topLvl">
          <ac:chgData name="Bruno Hunkeler" userId="aa893333c5787da3" providerId="LiveId" clId="{7E79ACA8-943A-4A57-B885-0EB06BDD93E2}" dt="2021-01-05T15:48:20.661" v="997" actId="164"/>
          <ac:grpSpMkLst>
            <pc:docMk/>
            <pc:sldMk cId="2575402525" sldId="1083"/>
            <ac:grpSpMk id="34" creationId="{CD7B40EF-0784-4007-B3C9-F1BCDAE4B600}"/>
          </ac:grpSpMkLst>
        </pc:grpChg>
        <pc:grpChg chg="mod topLvl">
          <ac:chgData name="Bruno Hunkeler" userId="aa893333c5787da3" providerId="LiveId" clId="{7E79ACA8-943A-4A57-B885-0EB06BDD93E2}" dt="2021-01-05T15:48:20.661" v="997" actId="164"/>
          <ac:grpSpMkLst>
            <pc:docMk/>
            <pc:sldMk cId="2575402525" sldId="1083"/>
            <ac:grpSpMk id="35" creationId="{DA3F7157-2D9D-4A39-A39C-D58CE677302A}"/>
          </ac:grpSpMkLst>
        </pc:grpChg>
        <pc:grpChg chg="add mod">
          <ac:chgData name="Bruno Hunkeler" userId="aa893333c5787da3" providerId="LiveId" clId="{7E79ACA8-943A-4A57-B885-0EB06BDD93E2}" dt="2021-01-05T15:48:20.661" v="997" actId="164"/>
          <ac:grpSpMkLst>
            <pc:docMk/>
            <pc:sldMk cId="2575402525" sldId="1083"/>
            <ac:grpSpMk id="59" creationId="{3C2CFA98-3868-4F99-A7BF-FC53A8F626D8}"/>
          </ac:grpSpMkLst>
        </pc:grpChg>
        <pc:picChg chg="mod">
          <ac:chgData name="Bruno Hunkeler" userId="aa893333c5787da3" providerId="LiveId" clId="{7E79ACA8-943A-4A57-B885-0EB06BDD93E2}" dt="2021-01-05T15:42:11.612" v="846"/>
          <ac:picMkLst>
            <pc:docMk/>
            <pc:sldMk cId="2575402525" sldId="1083"/>
            <ac:picMk id="25" creationId="{183756D4-9DE7-49F1-8CCF-D65D384D9F26}"/>
          </ac:picMkLst>
        </pc:picChg>
        <pc:picChg chg="mod">
          <ac:chgData name="Bruno Hunkeler" userId="aa893333c5787da3" providerId="LiveId" clId="{7E79ACA8-943A-4A57-B885-0EB06BDD93E2}" dt="2021-01-05T15:42:11.612" v="846"/>
          <ac:picMkLst>
            <pc:docMk/>
            <pc:sldMk cId="2575402525" sldId="1083"/>
            <ac:picMk id="27" creationId="{3B55FA6C-7C1F-4FB8-9C91-833413FE79AB}"/>
          </ac:picMkLst>
        </pc:picChg>
        <pc:picChg chg="mod">
          <ac:chgData name="Bruno Hunkeler" userId="aa893333c5787da3" providerId="LiveId" clId="{7E79ACA8-943A-4A57-B885-0EB06BDD93E2}" dt="2021-01-05T15:42:49.141" v="850" actId="165"/>
          <ac:picMkLst>
            <pc:docMk/>
            <pc:sldMk cId="2575402525" sldId="1083"/>
            <ac:picMk id="52" creationId="{FA0B0BB1-8782-4157-88B2-52573968FC5A}"/>
          </ac:picMkLst>
        </pc:picChg>
        <pc:picChg chg="mod">
          <ac:chgData name="Bruno Hunkeler" userId="aa893333c5787da3" providerId="LiveId" clId="{7E79ACA8-943A-4A57-B885-0EB06BDD93E2}" dt="2021-01-05T15:42:49.141" v="850" actId="165"/>
          <ac:picMkLst>
            <pc:docMk/>
            <pc:sldMk cId="2575402525" sldId="1083"/>
            <ac:picMk id="54" creationId="{E0818B7D-5629-4261-A552-5667E1830843}"/>
          </ac:picMkLst>
        </pc:picChg>
        <pc:cxnChg chg="mod">
          <ac:chgData name="Bruno Hunkeler" userId="aa893333c5787da3" providerId="LiveId" clId="{7E79ACA8-943A-4A57-B885-0EB06BDD93E2}" dt="2021-01-05T15:42:11.612" v="846"/>
          <ac:cxnSpMkLst>
            <pc:docMk/>
            <pc:sldMk cId="2575402525" sldId="1083"/>
            <ac:cxnSpMk id="9" creationId="{3813E810-CCBD-4FB6-A88B-E8B85D6A38C1}"/>
          </ac:cxnSpMkLst>
        </pc:cxnChg>
        <pc:cxnChg chg="mod">
          <ac:chgData name="Bruno Hunkeler" userId="aa893333c5787da3" providerId="LiveId" clId="{7E79ACA8-943A-4A57-B885-0EB06BDD93E2}" dt="2021-01-05T15:42:11.612" v="846"/>
          <ac:cxnSpMkLst>
            <pc:docMk/>
            <pc:sldMk cId="2575402525" sldId="1083"/>
            <ac:cxnSpMk id="14" creationId="{F1C09CB0-1C50-4A96-A68C-AE02E9D0B0BE}"/>
          </ac:cxnSpMkLst>
        </pc:cxnChg>
        <pc:cxnChg chg="mod">
          <ac:chgData name="Bruno Hunkeler" userId="aa893333c5787da3" providerId="LiveId" clId="{7E79ACA8-943A-4A57-B885-0EB06BDD93E2}" dt="2021-01-05T15:42:11.612" v="846"/>
          <ac:cxnSpMkLst>
            <pc:docMk/>
            <pc:sldMk cId="2575402525" sldId="1083"/>
            <ac:cxnSpMk id="15" creationId="{6AA0A954-2664-4FCE-A795-C5F478875E84}"/>
          </ac:cxnSpMkLst>
        </pc:cxnChg>
        <pc:cxnChg chg="mod">
          <ac:chgData name="Bruno Hunkeler" userId="aa893333c5787da3" providerId="LiveId" clId="{7E79ACA8-943A-4A57-B885-0EB06BDD93E2}" dt="2021-01-05T15:42:11.612" v="846"/>
          <ac:cxnSpMkLst>
            <pc:docMk/>
            <pc:sldMk cId="2575402525" sldId="1083"/>
            <ac:cxnSpMk id="17" creationId="{3C33A884-09ED-479C-AB15-23BECEA9E696}"/>
          </ac:cxnSpMkLst>
        </pc:cxnChg>
        <pc:cxnChg chg="mod">
          <ac:chgData name="Bruno Hunkeler" userId="aa893333c5787da3" providerId="LiveId" clId="{7E79ACA8-943A-4A57-B885-0EB06BDD93E2}" dt="2021-01-05T15:42:11.612" v="846"/>
          <ac:cxnSpMkLst>
            <pc:docMk/>
            <pc:sldMk cId="2575402525" sldId="1083"/>
            <ac:cxnSpMk id="19" creationId="{C3F3A139-72D5-4B0B-9FD3-0657A2D68C51}"/>
          </ac:cxnSpMkLst>
        </pc:cxnChg>
        <pc:cxnChg chg="mod">
          <ac:chgData name="Bruno Hunkeler" userId="aa893333c5787da3" providerId="LiveId" clId="{7E79ACA8-943A-4A57-B885-0EB06BDD93E2}" dt="2021-01-05T15:42:11.612" v="846"/>
          <ac:cxnSpMkLst>
            <pc:docMk/>
            <pc:sldMk cId="2575402525" sldId="1083"/>
            <ac:cxnSpMk id="20" creationId="{8838A6DA-921D-431D-AC7B-D4BC828FFBFC}"/>
          </ac:cxnSpMkLst>
        </pc:cxnChg>
        <pc:cxnChg chg="mod topLvl">
          <ac:chgData name="Bruno Hunkeler" userId="aa893333c5787da3" providerId="LiveId" clId="{7E79ACA8-943A-4A57-B885-0EB06BDD93E2}" dt="2021-01-05T15:48:20.661" v="997" actId="164"/>
          <ac:cxnSpMkLst>
            <pc:docMk/>
            <pc:sldMk cId="2575402525" sldId="1083"/>
            <ac:cxnSpMk id="36" creationId="{35081949-6001-4983-9DFE-DD27D2B674BE}"/>
          </ac:cxnSpMkLst>
        </pc:cxnChg>
        <pc:cxnChg chg="mod topLvl">
          <ac:chgData name="Bruno Hunkeler" userId="aa893333c5787da3" providerId="LiveId" clId="{7E79ACA8-943A-4A57-B885-0EB06BDD93E2}" dt="2021-01-05T15:48:20.661" v="997" actId="164"/>
          <ac:cxnSpMkLst>
            <pc:docMk/>
            <pc:sldMk cId="2575402525" sldId="1083"/>
            <ac:cxnSpMk id="41" creationId="{C2F9171E-6E9B-4100-B58B-B2EBC900FBF6}"/>
          </ac:cxnSpMkLst>
        </pc:cxnChg>
        <pc:cxnChg chg="mod topLvl">
          <ac:chgData name="Bruno Hunkeler" userId="aa893333c5787da3" providerId="LiveId" clId="{7E79ACA8-943A-4A57-B885-0EB06BDD93E2}" dt="2021-01-05T15:48:20.661" v="997" actId="164"/>
          <ac:cxnSpMkLst>
            <pc:docMk/>
            <pc:sldMk cId="2575402525" sldId="1083"/>
            <ac:cxnSpMk id="42" creationId="{47169235-38F1-439A-87FB-A35ABD564994}"/>
          </ac:cxnSpMkLst>
        </pc:cxnChg>
        <pc:cxnChg chg="mod topLvl">
          <ac:chgData name="Bruno Hunkeler" userId="aa893333c5787da3" providerId="LiveId" clId="{7E79ACA8-943A-4A57-B885-0EB06BDD93E2}" dt="2021-01-05T15:48:20.661" v="997" actId="164"/>
          <ac:cxnSpMkLst>
            <pc:docMk/>
            <pc:sldMk cId="2575402525" sldId="1083"/>
            <ac:cxnSpMk id="44" creationId="{CF64FA6B-3E16-43E1-9A13-7B1D218D7E13}"/>
          </ac:cxnSpMkLst>
        </pc:cxnChg>
        <pc:cxnChg chg="mod topLvl">
          <ac:chgData name="Bruno Hunkeler" userId="aa893333c5787da3" providerId="LiveId" clId="{7E79ACA8-943A-4A57-B885-0EB06BDD93E2}" dt="2021-01-05T15:48:20.661" v="997" actId="164"/>
          <ac:cxnSpMkLst>
            <pc:docMk/>
            <pc:sldMk cId="2575402525" sldId="1083"/>
            <ac:cxnSpMk id="46" creationId="{A796D7C1-8D51-4B3D-A96E-CC8E86D242BC}"/>
          </ac:cxnSpMkLst>
        </pc:cxnChg>
        <pc:cxnChg chg="mod topLvl">
          <ac:chgData name="Bruno Hunkeler" userId="aa893333c5787da3" providerId="LiveId" clId="{7E79ACA8-943A-4A57-B885-0EB06BDD93E2}" dt="2021-01-05T15:48:20.661" v="997" actId="164"/>
          <ac:cxnSpMkLst>
            <pc:docMk/>
            <pc:sldMk cId="2575402525" sldId="1083"/>
            <ac:cxnSpMk id="47" creationId="{D7B763C1-04E8-4BAA-9F62-07E63F3FBB15}"/>
          </ac:cxnSpMkLst>
        </pc:cxnChg>
        <pc:cxnChg chg="add mod">
          <ac:chgData name="Bruno Hunkeler" userId="aa893333c5787da3" providerId="LiveId" clId="{7E79ACA8-943A-4A57-B885-0EB06BDD93E2}" dt="2021-01-05T15:48:20.661" v="997" actId="164"/>
          <ac:cxnSpMkLst>
            <pc:docMk/>
            <pc:sldMk cId="2575402525" sldId="1083"/>
            <ac:cxnSpMk id="58" creationId="{9E60B67F-F6AE-457E-9641-4EC5EF2A2526}"/>
          </ac:cxnSpMkLst>
        </pc:cxnChg>
      </pc:sldChg>
      <pc:sldChg chg="add del">
        <pc:chgData name="Bruno Hunkeler" userId="aa893333c5787da3" providerId="LiveId" clId="{7E79ACA8-943A-4A57-B885-0EB06BDD93E2}" dt="2021-01-14T09:58:13.015" v="3071" actId="47"/>
        <pc:sldMkLst>
          <pc:docMk/>
          <pc:sldMk cId="365859716" sldId="1084"/>
        </pc:sldMkLst>
      </pc:sldChg>
      <pc:sldChg chg="addSp delSp modSp add del mod">
        <pc:chgData name="Bruno Hunkeler" userId="aa893333c5787da3" providerId="LiveId" clId="{7E79ACA8-943A-4A57-B885-0EB06BDD93E2}" dt="2021-01-14T09:58:13.015" v="3071" actId="47"/>
        <pc:sldMkLst>
          <pc:docMk/>
          <pc:sldMk cId="78458491" sldId="1085"/>
        </pc:sldMkLst>
        <pc:spChg chg="mod topLvl">
          <ac:chgData name="Bruno Hunkeler" userId="aa893333c5787da3" providerId="LiveId" clId="{7E79ACA8-943A-4A57-B885-0EB06BDD93E2}" dt="2021-01-11T09:11:52.092" v="1778" actId="164"/>
          <ac:spMkLst>
            <pc:docMk/>
            <pc:sldMk cId="78458491" sldId="1085"/>
            <ac:spMk id="30" creationId="{AC3AE51B-4FBF-4552-AA20-E638E7FA1772}"/>
          </ac:spMkLst>
        </pc:spChg>
        <pc:spChg chg="mod topLvl">
          <ac:chgData name="Bruno Hunkeler" userId="aa893333c5787da3" providerId="LiveId" clId="{7E79ACA8-943A-4A57-B885-0EB06BDD93E2}" dt="2021-01-11T09:11:52.092" v="1778" actId="164"/>
          <ac:spMkLst>
            <pc:docMk/>
            <pc:sldMk cId="78458491" sldId="1085"/>
            <ac:spMk id="31" creationId="{2F9F6430-C6A3-41D8-A605-A111468A4537}"/>
          </ac:spMkLst>
        </pc:spChg>
        <pc:spChg chg="mod topLvl">
          <ac:chgData name="Bruno Hunkeler" userId="aa893333c5787da3" providerId="LiveId" clId="{7E79ACA8-943A-4A57-B885-0EB06BDD93E2}" dt="2021-01-11T09:11:52.092" v="1778" actId="164"/>
          <ac:spMkLst>
            <pc:docMk/>
            <pc:sldMk cId="78458491" sldId="1085"/>
            <ac:spMk id="32" creationId="{4B603732-BD29-4B70-9EE4-65312A7243B8}"/>
          </ac:spMkLst>
        </pc:spChg>
        <pc:spChg chg="mod topLvl">
          <ac:chgData name="Bruno Hunkeler" userId="aa893333c5787da3" providerId="LiveId" clId="{7E79ACA8-943A-4A57-B885-0EB06BDD93E2}" dt="2021-01-11T09:11:52.092" v="1778" actId="164"/>
          <ac:spMkLst>
            <pc:docMk/>
            <pc:sldMk cId="78458491" sldId="1085"/>
            <ac:spMk id="33" creationId="{C52C4A0F-C1A2-47DA-8742-8A20C62D21A3}"/>
          </ac:spMkLst>
        </pc:spChg>
        <pc:spChg chg="mod topLvl">
          <ac:chgData name="Bruno Hunkeler" userId="aa893333c5787da3" providerId="LiveId" clId="{7E79ACA8-943A-4A57-B885-0EB06BDD93E2}" dt="2021-01-11T09:11:52.092" v="1778" actId="164"/>
          <ac:spMkLst>
            <pc:docMk/>
            <pc:sldMk cId="78458491" sldId="1085"/>
            <ac:spMk id="37" creationId="{8BEEF263-B2CE-4A3A-937E-AA27FFAD33C7}"/>
          </ac:spMkLst>
        </pc:spChg>
        <pc:spChg chg="mod topLvl">
          <ac:chgData name="Bruno Hunkeler" userId="aa893333c5787da3" providerId="LiveId" clId="{7E79ACA8-943A-4A57-B885-0EB06BDD93E2}" dt="2021-01-11T09:11:52.092" v="1778" actId="164"/>
          <ac:spMkLst>
            <pc:docMk/>
            <pc:sldMk cId="78458491" sldId="1085"/>
            <ac:spMk id="38" creationId="{83C98139-68F2-4382-B1C0-D9BC4534E429}"/>
          </ac:spMkLst>
        </pc:spChg>
        <pc:spChg chg="mod topLvl">
          <ac:chgData name="Bruno Hunkeler" userId="aa893333c5787da3" providerId="LiveId" clId="{7E79ACA8-943A-4A57-B885-0EB06BDD93E2}" dt="2021-01-11T09:11:52.092" v="1778" actId="164"/>
          <ac:spMkLst>
            <pc:docMk/>
            <pc:sldMk cId="78458491" sldId="1085"/>
            <ac:spMk id="39" creationId="{3FC93B16-1FAE-469B-B435-A8BD23B7AD78}"/>
          </ac:spMkLst>
        </pc:spChg>
        <pc:spChg chg="mod topLvl">
          <ac:chgData name="Bruno Hunkeler" userId="aa893333c5787da3" providerId="LiveId" clId="{7E79ACA8-943A-4A57-B885-0EB06BDD93E2}" dt="2021-01-11T09:11:52.092" v="1778" actId="164"/>
          <ac:spMkLst>
            <pc:docMk/>
            <pc:sldMk cId="78458491" sldId="1085"/>
            <ac:spMk id="40" creationId="{D31F23AC-2AD9-43BA-8884-682BCC50EFF8}"/>
          </ac:spMkLst>
        </pc:spChg>
        <pc:spChg chg="del mod topLvl">
          <ac:chgData name="Bruno Hunkeler" userId="aa893333c5787da3" providerId="LiveId" clId="{7E79ACA8-943A-4A57-B885-0EB06BDD93E2}" dt="2021-01-11T08:51:33.874" v="1226" actId="478"/>
          <ac:spMkLst>
            <pc:docMk/>
            <pc:sldMk cId="78458491" sldId="1085"/>
            <ac:spMk id="43" creationId="{E703F8C8-3BDC-483F-A741-541A0DD6B093}"/>
          </ac:spMkLst>
        </pc:spChg>
        <pc:spChg chg="del mod topLvl">
          <ac:chgData name="Bruno Hunkeler" userId="aa893333c5787da3" providerId="LiveId" clId="{7E79ACA8-943A-4A57-B885-0EB06BDD93E2}" dt="2021-01-11T08:52:29.511" v="1237" actId="478"/>
          <ac:spMkLst>
            <pc:docMk/>
            <pc:sldMk cId="78458491" sldId="1085"/>
            <ac:spMk id="45" creationId="{DD890925-33C8-40CF-95C0-1A7C3545EFC4}"/>
          </ac:spMkLst>
        </pc:spChg>
        <pc:spChg chg="mod topLvl">
          <ac:chgData name="Bruno Hunkeler" userId="aa893333c5787da3" providerId="LiveId" clId="{7E79ACA8-943A-4A57-B885-0EB06BDD93E2}" dt="2021-01-11T09:11:52.092" v="1778" actId="164"/>
          <ac:spMkLst>
            <pc:docMk/>
            <pc:sldMk cId="78458491" sldId="1085"/>
            <ac:spMk id="48" creationId="{CC64E003-BF4D-4492-986C-F11AE389C35D}"/>
          </ac:spMkLst>
        </pc:spChg>
        <pc:spChg chg="mod topLvl">
          <ac:chgData name="Bruno Hunkeler" userId="aa893333c5787da3" providerId="LiveId" clId="{7E79ACA8-943A-4A57-B885-0EB06BDD93E2}" dt="2021-01-11T09:11:52.092" v="1778" actId="164"/>
          <ac:spMkLst>
            <pc:docMk/>
            <pc:sldMk cId="78458491" sldId="1085"/>
            <ac:spMk id="49" creationId="{5F7F1B50-C9E6-42C2-84E5-EABE569CCF3F}"/>
          </ac:spMkLst>
        </pc:spChg>
        <pc:spChg chg="mod topLvl">
          <ac:chgData name="Bruno Hunkeler" userId="aa893333c5787da3" providerId="LiveId" clId="{7E79ACA8-943A-4A57-B885-0EB06BDD93E2}" dt="2021-01-11T09:11:52.092" v="1778" actId="164"/>
          <ac:spMkLst>
            <pc:docMk/>
            <pc:sldMk cId="78458491" sldId="1085"/>
            <ac:spMk id="50" creationId="{4AE66C56-6F33-40CC-BD9D-A0938E58822A}"/>
          </ac:spMkLst>
        </pc:spChg>
        <pc:spChg chg="mod topLvl">
          <ac:chgData name="Bruno Hunkeler" userId="aa893333c5787da3" providerId="LiveId" clId="{7E79ACA8-943A-4A57-B885-0EB06BDD93E2}" dt="2021-01-11T09:11:52.092" v="1778" actId="164"/>
          <ac:spMkLst>
            <pc:docMk/>
            <pc:sldMk cId="78458491" sldId="1085"/>
            <ac:spMk id="51" creationId="{60340C6E-C952-40AF-B081-91277D8935A8}"/>
          </ac:spMkLst>
        </pc:spChg>
        <pc:spChg chg="mod">
          <ac:chgData name="Bruno Hunkeler" userId="aa893333c5787da3" providerId="LiveId" clId="{7E79ACA8-943A-4A57-B885-0EB06BDD93E2}" dt="2021-01-11T08:59:24.038" v="1511" actId="255"/>
          <ac:spMkLst>
            <pc:docMk/>
            <pc:sldMk cId="78458491" sldId="1085"/>
            <ac:spMk id="53" creationId="{541462D8-01A1-4B13-8B29-A1E8B41181D3}"/>
          </ac:spMkLst>
        </pc:spChg>
        <pc:spChg chg="mod">
          <ac:chgData name="Bruno Hunkeler" userId="aa893333c5787da3" providerId="LiveId" clId="{7E79ACA8-943A-4A57-B885-0EB06BDD93E2}" dt="2021-01-11T08:47:04.985" v="1154" actId="165"/>
          <ac:spMkLst>
            <pc:docMk/>
            <pc:sldMk cId="78458491" sldId="1085"/>
            <ac:spMk id="55" creationId="{2982EC25-078B-4ADE-B2EC-A836788B3A86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55" creationId="{DE8F0C38-BFE5-4666-A965-E036F3539C02}"/>
          </ac:spMkLst>
        </pc:spChg>
        <pc:spChg chg="mod topLvl">
          <ac:chgData name="Bruno Hunkeler" userId="aa893333c5787da3" providerId="LiveId" clId="{7E79ACA8-943A-4A57-B885-0EB06BDD93E2}" dt="2021-01-11T09:11:52.092" v="1778" actId="164"/>
          <ac:spMkLst>
            <pc:docMk/>
            <pc:sldMk cId="78458491" sldId="1085"/>
            <ac:spMk id="56" creationId="{282EA6F6-7F9E-460A-8CAB-C1AF1BB13A64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59" creationId="{001CE296-B78C-4971-9050-D7F72E4BA46A}"/>
          </ac:spMkLst>
        </pc:spChg>
        <pc:spChg chg="mod">
          <ac:chgData name="Bruno Hunkeler" userId="aa893333c5787da3" providerId="LiveId" clId="{7E79ACA8-943A-4A57-B885-0EB06BDD93E2}" dt="2021-01-11T09:00:09.971" v="1528" actId="255"/>
          <ac:spMkLst>
            <pc:docMk/>
            <pc:sldMk cId="78458491" sldId="1085"/>
            <ac:spMk id="61" creationId="{EE37D09E-ABFA-4792-B8C3-2575FC293596}"/>
          </ac:spMkLst>
        </pc:spChg>
        <pc:spChg chg="add mod">
          <ac:chgData name="Bruno Hunkeler" userId="aa893333c5787da3" providerId="LiveId" clId="{7E79ACA8-943A-4A57-B885-0EB06BDD93E2}" dt="2021-01-11T09:11:52.092" v="1778" actId="164"/>
          <ac:spMkLst>
            <pc:docMk/>
            <pc:sldMk cId="78458491" sldId="1085"/>
            <ac:spMk id="62" creationId="{C209E82F-1047-4779-ABBA-1C2982209BC2}"/>
          </ac:spMkLst>
        </pc:spChg>
        <pc:spChg chg="add mod">
          <ac:chgData name="Bruno Hunkeler" userId="aa893333c5787da3" providerId="LiveId" clId="{7E79ACA8-943A-4A57-B885-0EB06BDD93E2}" dt="2021-01-11T09:11:52.092" v="1778" actId="164"/>
          <ac:spMkLst>
            <pc:docMk/>
            <pc:sldMk cId="78458491" sldId="1085"/>
            <ac:spMk id="63" creationId="{1DBB10AF-970C-4B43-85C7-C95FA7AEFA69}"/>
          </ac:spMkLst>
        </pc:spChg>
        <pc:spChg chg="add mod">
          <ac:chgData name="Bruno Hunkeler" userId="aa893333c5787da3" providerId="LiveId" clId="{7E79ACA8-943A-4A57-B885-0EB06BDD93E2}" dt="2021-01-11T09:11:52.092" v="1778" actId="164"/>
          <ac:spMkLst>
            <pc:docMk/>
            <pc:sldMk cId="78458491" sldId="1085"/>
            <ac:spMk id="64" creationId="{2443DB29-6E06-4303-ADBF-5E5EF66DE6A3}"/>
          </ac:spMkLst>
        </pc:spChg>
        <pc:spChg chg="mod">
          <ac:chgData name="Bruno Hunkeler" userId="aa893333c5787da3" providerId="LiveId" clId="{7E79ACA8-943A-4A57-B885-0EB06BDD93E2}" dt="2021-01-11T08:56:03.720" v="1371" actId="122"/>
          <ac:spMkLst>
            <pc:docMk/>
            <pc:sldMk cId="78458491" sldId="1085"/>
            <ac:spMk id="67" creationId="{636CFF45-8086-4525-BEF6-5087C4DE104D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69" creationId="{2F3A4716-ED98-4DEC-8D29-27184FFC32F8}"/>
          </ac:spMkLst>
        </pc:spChg>
        <pc:spChg chg="add del mod">
          <ac:chgData name="Bruno Hunkeler" userId="aa893333c5787da3" providerId="LiveId" clId="{7E79ACA8-943A-4A57-B885-0EB06BDD93E2}" dt="2021-01-11T09:11:13.222" v="1776" actId="478"/>
          <ac:spMkLst>
            <pc:docMk/>
            <pc:sldMk cId="78458491" sldId="1085"/>
            <ac:spMk id="69" creationId="{EDCC274E-8C6C-47E5-935B-52C3C10E9E51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70" creationId="{79938ADD-301F-42F7-9E27-4FF93B60AA80}"/>
          </ac:spMkLst>
        </pc:spChg>
        <pc:spChg chg="add del mod">
          <ac:chgData name="Bruno Hunkeler" userId="aa893333c5787da3" providerId="LiveId" clId="{7E79ACA8-943A-4A57-B885-0EB06BDD93E2}" dt="2021-01-11T09:11:09.697" v="1775" actId="478"/>
          <ac:spMkLst>
            <pc:docMk/>
            <pc:sldMk cId="78458491" sldId="1085"/>
            <ac:spMk id="70" creationId="{80B868F9-5908-4CB4-A370-3AB1F6EF009E}"/>
          </ac:spMkLst>
        </pc:spChg>
        <pc:spChg chg="mod">
          <ac:chgData name="Bruno Hunkeler" userId="aa893333c5787da3" providerId="LiveId" clId="{7E79ACA8-943A-4A57-B885-0EB06BDD93E2}" dt="2021-01-11T08:56:34.385" v="1391" actId="122"/>
          <ac:spMkLst>
            <pc:docMk/>
            <pc:sldMk cId="78458491" sldId="1085"/>
            <ac:spMk id="73" creationId="{2CDED979-644D-40C6-9A4D-F39EA83C3975}"/>
          </ac:spMkLst>
        </pc:spChg>
        <pc:spChg chg="add mod">
          <ac:chgData name="Bruno Hunkeler" userId="aa893333c5787da3" providerId="LiveId" clId="{7E79ACA8-943A-4A57-B885-0EB06BDD93E2}" dt="2021-01-11T09:11:52.092" v="1778" actId="164"/>
          <ac:spMkLst>
            <pc:docMk/>
            <pc:sldMk cId="78458491" sldId="1085"/>
            <ac:spMk id="74" creationId="{1FA11B8B-29EA-456F-8D99-3A4A9C341D6D}"/>
          </ac:spMkLst>
        </pc:spChg>
        <pc:spChg chg="add mod">
          <ac:chgData name="Bruno Hunkeler" userId="aa893333c5787da3" providerId="LiveId" clId="{7E79ACA8-943A-4A57-B885-0EB06BDD93E2}" dt="2021-01-11T09:11:52.092" v="1778" actId="164"/>
          <ac:spMkLst>
            <pc:docMk/>
            <pc:sldMk cId="78458491" sldId="1085"/>
            <ac:spMk id="75" creationId="{1C595E47-9CF0-4FEE-A421-1E478AC8D9DB}"/>
          </ac:spMkLst>
        </pc:spChg>
        <pc:spChg chg="add mod">
          <ac:chgData name="Bruno Hunkeler" userId="aa893333c5787da3" providerId="LiveId" clId="{7E79ACA8-943A-4A57-B885-0EB06BDD93E2}" dt="2021-01-11T09:11:52.092" v="1778" actId="164"/>
          <ac:spMkLst>
            <pc:docMk/>
            <pc:sldMk cId="78458491" sldId="1085"/>
            <ac:spMk id="76" creationId="{81775D60-3A98-4316-87A5-A9EBF60B00DB}"/>
          </ac:spMkLst>
        </pc:spChg>
        <pc:spChg chg="add mod">
          <ac:chgData name="Bruno Hunkeler" userId="aa893333c5787da3" providerId="LiveId" clId="{7E79ACA8-943A-4A57-B885-0EB06BDD93E2}" dt="2021-01-11T09:11:52.092" v="1778" actId="164"/>
          <ac:spMkLst>
            <pc:docMk/>
            <pc:sldMk cId="78458491" sldId="1085"/>
            <ac:spMk id="77" creationId="{4CEFE013-6C92-4660-8F85-0B9C4F8C3A64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80" creationId="{CF0804ED-D610-4C25-954F-45F60ED4B9F7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81" creationId="{FD9F8DFC-AFEA-4F61-8EC7-7A7692C8922A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82" creationId="{66D6FDD1-DBD2-469C-B34B-7E210E1AFA53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83" creationId="{65E5B2F7-E57E-4B61-8131-1C04B72E1232}"/>
          </ac:spMkLst>
        </pc:spChg>
        <pc:spChg chg="add mod">
          <ac:chgData name="Bruno Hunkeler" userId="aa893333c5787da3" providerId="LiveId" clId="{7E79ACA8-943A-4A57-B885-0EB06BDD93E2}" dt="2021-01-11T09:11:52.092" v="1778" actId="164"/>
          <ac:spMkLst>
            <pc:docMk/>
            <pc:sldMk cId="78458491" sldId="1085"/>
            <ac:spMk id="88" creationId="{113E720B-80EB-4844-9712-4D79931275C1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90" creationId="{4141E8BC-F303-4559-B243-51E9960DFEBF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91" creationId="{CC88E79E-6FD4-471D-AD71-0DDE47A04932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92" creationId="{3CE2AF8D-C205-433D-A518-590DB01ECC0E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93" creationId="{9792FB07-E410-4B90-BE24-C696CAFC4448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94" creationId="{D51B6E06-90D8-4223-9E27-CF813C324B5B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100" creationId="{18744D53-B9F4-4812-A0BA-130BAB4045DB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101" creationId="{03A6EA14-5937-4CD7-8C69-EEEB07E7DB09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102" creationId="{C91C9E39-4D84-445B-8C70-0B92CC0D08FD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108" creationId="{D5631FFC-BA26-4879-B71E-A3A6196BA10A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109" creationId="{7FB8EB97-4745-4879-B9D7-132002BCC9AF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110" creationId="{6C3CC058-E64D-47F5-9769-ABF9E83AD014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111" creationId="{7E081445-BB54-4B10-ADC4-AC27D307A6ED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113" creationId="{475B77D1-0621-4625-A505-2DC05B7F9275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117" creationId="{EDC7FB1D-24B9-474F-9B23-D2F8E49B34D8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119" creationId="{97A339CF-8E62-43EA-A111-8486A64CBB53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121" creationId="{72C5F6FC-A547-4F52-A713-2B0008DA78B2}"/>
          </ac:spMkLst>
        </pc:spChg>
        <pc:spChg chg="mod">
          <ac:chgData name="Bruno Hunkeler" userId="aa893333c5787da3" providerId="LiveId" clId="{7E79ACA8-943A-4A57-B885-0EB06BDD93E2}" dt="2021-01-12T07:20:36.690" v="1780"/>
          <ac:spMkLst>
            <pc:docMk/>
            <pc:sldMk cId="78458491" sldId="1085"/>
            <ac:spMk id="123" creationId="{225EDE45-EBEF-44C6-8C66-4C04AA8DF8AD}"/>
          </ac:spMkLst>
        </pc:spChg>
        <pc:grpChg chg="del mod topLvl">
          <ac:chgData name="Bruno Hunkeler" userId="aa893333c5787da3" providerId="LiveId" clId="{7E79ACA8-943A-4A57-B885-0EB06BDD93E2}" dt="2021-01-11T08:50:04.048" v="1205" actId="478"/>
          <ac:grpSpMkLst>
            <pc:docMk/>
            <pc:sldMk cId="78458491" sldId="1085"/>
            <ac:grpSpMk id="34" creationId="{CD7B40EF-0784-4007-B3C9-F1BCDAE4B600}"/>
          </ac:grpSpMkLst>
        </pc:grpChg>
        <pc:grpChg chg="mod topLvl">
          <ac:chgData name="Bruno Hunkeler" userId="aa893333c5787da3" providerId="LiveId" clId="{7E79ACA8-943A-4A57-B885-0EB06BDD93E2}" dt="2021-01-11T09:11:52.092" v="1778" actId="164"/>
          <ac:grpSpMkLst>
            <pc:docMk/>
            <pc:sldMk cId="78458491" sldId="1085"/>
            <ac:grpSpMk id="35" creationId="{DA3F7157-2D9D-4A39-A39C-D58CE677302A}"/>
          </ac:grpSpMkLst>
        </pc:grpChg>
        <pc:grpChg chg="add del mod">
          <ac:chgData name="Bruno Hunkeler" userId="aa893333c5787da3" providerId="LiveId" clId="{7E79ACA8-943A-4A57-B885-0EB06BDD93E2}" dt="2021-01-12T07:20:38.942" v="1781"/>
          <ac:grpSpMkLst>
            <pc:docMk/>
            <pc:sldMk cId="78458491" sldId="1085"/>
            <ac:grpSpMk id="54" creationId="{0E7BDFD0-E4AC-4007-BEC2-E68CFD24C2A5}"/>
          </ac:grpSpMkLst>
        </pc:grpChg>
        <pc:grpChg chg="add mod">
          <ac:chgData name="Bruno Hunkeler" userId="aa893333c5787da3" providerId="LiveId" clId="{7E79ACA8-943A-4A57-B885-0EB06BDD93E2}" dt="2021-01-11T09:11:52.092" v="1778" actId="164"/>
          <ac:grpSpMkLst>
            <pc:docMk/>
            <pc:sldMk cId="78458491" sldId="1085"/>
            <ac:grpSpMk id="57" creationId="{2EF66B59-4290-4617-8C03-D6FFF2D69E34}"/>
          </ac:grpSpMkLst>
        </pc:grpChg>
        <pc:grpChg chg="del mod">
          <ac:chgData name="Bruno Hunkeler" userId="aa893333c5787da3" providerId="LiveId" clId="{7E79ACA8-943A-4A57-B885-0EB06BDD93E2}" dt="2021-01-11T08:47:04.985" v="1154" actId="165"/>
          <ac:grpSpMkLst>
            <pc:docMk/>
            <pc:sldMk cId="78458491" sldId="1085"/>
            <ac:grpSpMk id="59" creationId="{3C2CFA98-3868-4F99-A7BF-FC53A8F626D8}"/>
          </ac:grpSpMkLst>
        </pc:grpChg>
        <pc:grpChg chg="add mod">
          <ac:chgData name="Bruno Hunkeler" userId="aa893333c5787da3" providerId="LiveId" clId="{7E79ACA8-943A-4A57-B885-0EB06BDD93E2}" dt="2021-01-11T09:11:52.092" v="1778" actId="164"/>
          <ac:grpSpMkLst>
            <pc:docMk/>
            <pc:sldMk cId="78458491" sldId="1085"/>
            <ac:grpSpMk id="65" creationId="{1F1763B1-29F8-4061-AEC8-884BFF41775C}"/>
          </ac:grpSpMkLst>
        </pc:grpChg>
        <pc:grpChg chg="add mod">
          <ac:chgData name="Bruno Hunkeler" userId="aa893333c5787da3" providerId="LiveId" clId="{7E79ACA8-943A-4A57-B885-0EB06BDD93E2}" dt="2021-01-11T09:11:52.092" v="1778" actId="164"/>
          <ac:grpSpMkLst>
            <pc:docMk/>
            <pc:sldMk cId="78458491" sldId="1085"/>
            <ac:grpSpMk id="71" creationId="{37049FCD-F244-4B3C-AA89-A21238BE564B}"/>
          </ac:grpSpMkLst>
        </pc:grpChg>
        <pc:grpChg chg="mod">
          <ac:chgData name="Bruno Hunkeler" userId="aa893333c5787da3" providerId="LiveId" clId="{7E79ACA8-943A-4A57-B885-0EB06BDD93E2}" dt="2021-01-12T07:20:36.690" v="1780"/>
          <ac:grpSpMkLst>
            <pc:docMk/>
            <pc:sldMk cId="78458491" sldId="1085"/>
            <ac:grpSpMk id="78" creationId="{BABAF128-3C72-4993-A8A9-DE2F5A941AE8}"/>
          </ac:grpSpMkLst>
        </pc:grpChg>
        <pc:grpChg chg="add mod">
          <ac:chgData name="Bruno Hunkeler" userId="aa893333c5787da3" providerId="LiveId" clId="{7E79ACA8-943A-4A57-B885-0EB06BDD93E2}" dt="2021-01-11T09:11:52.092" v="1778" actId="164"/>
          <ac:grpSpMkLst>
            <pc:docMk/>
            <pc:sldMk cId="78458491" sldId="1085"/>
            <ac:grpSpMk id="96" creationId="{98C4FBDB-D908-40BF-B568-DD7B67EFE1F3}"/>
          </ac:grpSpMkLst>
        </pc:grpChg>
        <pc:grpChg chg="mod">
          <ac:chgData name="Bruno Hunkeler" userId="aa893333c5787da3" providerId="LiveId" clId="{7E79ACA8-943A-4A57-B885-0EB06BDD93E2}" dt="2021-01-12T07:20:36.690" v="1780"/>
          <ac:grpSpMkLst>
            <pc:docMk/>
            <pc:sldMk cId="78458491" sldId="1085"/>
            <ac:grpSpMk id="99" creationId="{DC8C8D1E-1F0F-4454-9A7B-2F4A61783C4F}"/>
          </ac:grpSpMkLst>
        </pc:grpChg>
        <pc:grpChg chg="mod">
          <ac:chgData name="Bruno Hunkeler" userId="aa893333c5787da3" providerId="LiveId" clId="{7E79ACA8-943A-4A57-B885-0EB06BDD93E2}" dt="2021-01-12T07:20:36.690" v="1780"/>
          <ac:grpSpMkLst>
            <pc:docMk/>
            <pc:sldMk cId="78458491" sldId="1085"/>
            <ac:grpSpMk id="103" creationId="{1E99C8DF-0760-4CB0-8B1A-B7664D578A56}"/>
          </ac:grpSpMkLst>
        </pc:grpChg>
        <pc:grpChg chg="mod">
          <ac:chgData name="Bruno Hunkeler" userId="aa893333c5787da3" providerId="LiveId" clId="{7E79ACA8-943A-4A57-B885-0EB06BDD93E2}" dt="2021-01-12T07:20:36.690" v="1780"/>
          <ac:grpSpMkLst>
            <pc:docMk/>
            <pc:sldMk cId="78458491" sldId="1085"/>
            <ac:grpSpMk id="105" creationId="{56B659F2-41BE-47F9-AC10-DEFBC15275FD}"/>
          </ac:grpSpMkLst>
        </pc:grpChg>
        <pc:picChg chg="mod">
          <ac:chgData name="Bruno Hunkeler" userId="aa893333c5787da3" providerId="LiveId" clId="{7E79ACA8-943A-4A57-B885-0EB06BDD93E2}" dt="2021-01-11T08:47:04.985" v="1154" actId="165"/>
          <ac:picMkLst>
            <pc:docMk/>
            <pc:sldMk cId="78458491" sldId="1085"/>
            <ac:picMk id="52" creationId="{FA0B0BB1-8782-4157-88B2-52573968FC5A}"/>
          </ac:picMkLst>
        </pc:picChg>
        <pc:picChg chg="mod">
          <ac:chgData name="Bruno Hunkeler" userId="aa893333c5787da3" providerId="LiveId" clId="{7E79ACA8-943A-4A57-B885-0EB06BDD93E2}" dt="2021-01-11T08:47:04.985" v="1154" actId="165"/>
          <ac:picMkLst>
            <pc:docMk/>
            <pc:sldMk cId="78458491" sldId="1085"/>
            <ac:picMk id="54" creationId="{E0818B7D-5629-4261-A552-5667E1830843}"/>
          </ac:picMkLst>
        </pc:picChg>
        <pc:picChg chg="mod">
          <ac:chgData name="Bruno Hunkeler" userId="aa893333c5787da3" providerId="LiveId" clId="{7E79ACA8-943A-4A57-B885-0EB06BDD93E2}" dt="2021-01-11T08:49:55.957" v="1203"/>
          <ac:picMkLst>
            <pc:docMk/>
            <pc:sldMk cId="78458491" sldId="1085"/>
            <ac:picMk id="60" creationId="{184BED0C-8F5A-4DB5-8AC9-731B8D576F60}"/>
          </ac:picMkLst>
        </pc:picChg>
        <pc:picChg chg="mod">
          <ac:chgData name="Bruno Hunkeler" userId="aa893333c5787da3" providerId="LiveId" clId="{7E79ACA8-943A-4A57-B885-0EB06BDD93E2}" dt="2021-01-11T08:55:16.612" v="1349"/>
          <ac:picMkLst>
            <pc:docMk/>
            <pc:sldMk cId="78458491" sldId="1085"/>
            <ac:picMk id="66" creationId="{8F7DCF30-13CC-4C94-B342-49540DFD6A40}"/>
          </ac:picMkLst>
        </pc:picChg>
        <pc:picChg chg="mod">
          <ac:chgData name="Bruno Hunkeler" userId="aa893333c5787da3" providerId="LiveId" clId="{7E79ACA8-943A-4A57-B885-0EB06BDD93E2}" dt="2021-01-11T08:55:16.612" v="1349"/>
          <ac:picMkLst>
            <pc:docMk/>
            <pc:sldMk cId="78458491" sldId="1085"/>
            <ac:picMk id="72" creationId="{782A2117-0BF8-417F-A2B4-1F613B7FEB0D}"/>
          </ac:picMkLst>
        </pc:picChg>
        <pc:picChg chg="mod">
          <ac:chgData name="Bruno Hunkeler" userId="aa893333c5787da3" providerId="LiveId" clId="{7E79ACA8-943A-4A57-B885-0EB06BDD93E2}" dt="2021-01-12T07:20:36.690" v="1780"/>
          <ac:picMkLst>
            <pc:docMk/>
            <pc:sldMk cId="78458491" sldId="1085"/>
            <ac:picMk id="116" creationId="{904D1F8E-812D-4815-8AD4-D6BD772F335E}"/>
          </ac:picMkLst>
        </pc:picChg>
        <pc:picChg chg="mod">
          <ac:chgData name="Bruno Hunkeler" userId="aa893333c5787da3" providerId="LiveId" clId="{7E79ACA8-943A-4A57-B885-0EB06BDD93E2}" dt="2021-01-12T07:20:36.690" v="1780"/>
          <ac:picMkLst>
            <pc:docMk/>
            <pc:sldMk cId="78458491" sldId="1085"/>
            <ac:picMk id="118" creationId="{D740D5A8-9E1B-4024-A56B-370D10D1660A}"/>
          </ac:picMkLst>
        </pc:picChg>
        <pc:picChg chg="mod">
          <ac:chgData name="Bruno Hunkeler" userId="aa893333c5787da3" providerId="LiveId" clId="{7E79ACA8-943A-4A57-B885-0EB06BDD93E2}" dt="2021-01-12T07:20:36.690" v="1780"/>
          <ac:picMkLst>
            <pc:docMk/>
            <pc:sldMk cId="78458491" sldId="1085"/>
            <ac:picMk id="120" creationId="{C3604150-FFF9-43D4-BF64-30B2D061B377}"/>
          </ac:picMkLst>
        </pc:picChg>
        <pc:picChg chg="mod">
          <ac:chgData name="Bruno Hunkeler" userId="aa893333c5787da3" providerId="LiveId" clId="{7E79ACA8-943A-4A57-B885-0EB06BDD93E2}" dt="2021-01-12T07:20:36.690" v="1780"/>
          <ac:picMkLst>
            <pc:docMk/>
            <pc:sldMk cId="78458491" sldId="1085"/>
            <ac:picMk id="122" creationId="{0FFE6F4D-DE42-4AAA-8A9B-CECF64EA22C9}"/>
          </ac:picMkLst>
        </pc:picChg>
        <pc:cxnChg chg="add mod">
          <ac:chgData name="Bruno Hunkeler" userId="aa893333c5787da3" providerId="LiveId" clId="{7E79ACA8-943A-4A57-B885-0EB06BDD93E2}" dt="2021-01-11T09:11:52.092" v="1778" actId="164"/>
          <ac:cxnSpMkLst>
            <pc:docMk/>
            <pc:sldMk cId="78458491" sldId="1085"/>
            <ac:cxnSpMk id="6" creationId="{A8B74912-5F7E-48B3-A204-DC20C7C66A4B}"/>
          </ac:cxnSpMkLst>
        </pc:cxnChg>
        <pc:cxnChg chg="mod topLvl">
          <ac:chgData name="Bruno Hunkeler" userId="aa893333c5787da3" providerId="LiveId" clId="{7E79ACA8-943A-4A57-B885-0EB06BDD93E2}" dt="2021-01-11T09:11:52.092" v="1778" actId="164"/>
          <ac:cxnSpMkLst>
            <pc:docMk/>
            <pc:sldMk cId="78458491" sldId="1085"/>
            <ac:cxnSpMk id="36" creationId="{35081949-6001-4983-9DFE-DD27D2B674BE}"/>
          </ac:cxnSpMkLst>
        </pc:cxnChg>
        <pc:cxnChg chg="mod ord topLvl">
          <ac:chgData name="Bruno Hunkeler" userId="aa893333c5787da3" providerId="LiveId" clId="{7E79ACA8-943A-4A57-B885-0EB06BDD93E2}" dt="2021-01-11T09:11:52.092" v="1778" actId="164"/>
          <ac:cxnSpMkLst>
            <pc:docMk/>
            <pc:sldMk cId="78458491" sldId="1085"/>
            <ac:cxnSpMk id="41" creationId="{C2F9171E-6E9B-4100-B58B-B2EBC900FBF6}"/>
          </ac:cxnSpMkLst>
        </pc:cxnChg>
        <pc:cxnChg chg="mod topLvl">
          <ac:chgData name="Bruno Hunkeler" userId="aa893333c5787da3" providerId="LiveId" clId="{7E79ACA8-943A-4A57-B885-0EB06BDD93E2}" dt="2021-01-11T09:11:52.092" v="1778" actId="164"/>
          <ac:cxnSpMkLst>
            <pc:docMk/>
            <pc:sldMk cId="78458491" sldId="1085"/>
            <ac:cxnSpMk id="42" creationId="{47169235-38F1-439A-87FB-A35ABD564994}"/>
          </ac:cxnSpMkLst>
        </pc:cxnChg>
        <pc:cxnChg chg="mod topLvl">
          <ac:chgData name="Bruno Hunkeler" userId="aa893333c5787da3" providerId="LiveId" clId="{7E79ACA8-943A-4A57-B885-0EB06BDD93E2}" dt="2021-01-11T09:11:52.092" v="1778" actId="164"/>
          <ac:cxnSpMkLst>
            <pc:docMk/>
            <pc:sldMk cId="78458491" sldId="1085"/>
            <ac:cxnSpMk id="44" creationId="{CF64FA6B-3E16-43E1-9A13-7B1D218D7E13}"/>
          </ac:cxnSpMkLst>
        </pc:cxnChg>
        <pc:cxnChg chg="mod topLvl">
          <ac:chgData name="Bruno Hunkeler" userId="aa893333c5787da3" providerId="LiveId" clId="{7E79ACA8-943A-4A57-B885-0EB06BDD93E2}" dt="2021-01-11T09:11:52.092" v="1778" actId="164"/>
          <ac:cxnSpMkLst>
            <pc:docMk/>
            <pc:sldMk cId="78458491" sldId="1085"/>
            <ac:cxnSpMk id="46" creationId="{A796D7C1-8D51-4B3D-A96E-CC8E86D242BC}"/>
          </ac:cxnSpMkLst>
        </pc:cxnChg>
        <pc:cxnChg chg="mod ord topLvl">
          <ac:chgData name="Bruno Hunkeler" userId="aa893333c5787da3" providerId="LiveId" clId="{7E79ACA8-943A-4A57-B885-0EB06BDD93E2}" dt="2021-01-11T09:11:52.092" v="1778" actId="164"/>
          <ac:cxnSpMkLst>
            <pc:docMk/>
            <pc:sldMk cId="78458491" sldId="1085"/>
            <ac:cxnSpMk id="47" creationId="{D7B763C1-04E8-4BAA-9F62-07E63F3FBB15}"/>
          </ac:cxnSpMkLst>
        </pc:cxnChg>
        <pc:cxnChg chg="mod topLvl">
          <ac:chgData name="Bruno Hunkeler" userId="aa893333c5787da3" providerId="LiveId" clId="{7E79ACA8-943A-4A57-B885-0EB06BDD93E2}" dt="2021-01-11T09:11:52.092" v="1778" actId="164"/>
          <ac:cxnSpMkLst>
            <pc:docMk/>
            <pc:sldMk cId="78458491" sldId="1085"/>
            <ac:cxnSpMk id="58" creationId="{9E60B67F-F6AE-457E-9641-4EC5EF2A2526}"/>
          </ac:cxnSpMkLst>
        </pc:cxnChg>
        <pc:cxnChg chg="add mod">
          <ac:chgData name="Bruno Hunkeler" userId="aa893333c5787da3" providerId="LiveId" clId="{7E79ACA8-943A-4A57-B885-0EB06BDD93E2}" dt="2021-01-11T09:11:52.092" v="1778" actId="164"/>
          <ac:cxnSpMkLst>
            <pc:docMk/>
            <pc:sldMk cId="78458491" sldId="1085"/>
            <ac:cxnSpMk id="68" creationId="{35DEB4B4-9E6D-4792-8804-270C37B4E15D}"/>
          </ac:cxnSpMkLst>
        </pc:cxnChg>
        <pc:cxnChg chg="mod">
          <ac:chgData name="Bruno Hunkeler" userId="aa893333c5787da3" providerId="LiveId" clId="{7E79ACA8-943A-4A57-B885-0EB06BDD93E2}" dt="2021-01-12T07:20:36.690" v="1780"/>
          <ac:cxnSpMkLst>
            <pc:docMk/>
            <pc:sldMk cId="78458491" sldId="1085"/>
            <ac:cxnSpMk id="79" creationId="{C61AD930-6BEF-4D7C-B14B-542FFB6D6476}"/>
          </ac:cxnSpMkLst>
        </pc:cxnChg>
        <pc:cxnChg chg="mod">
          <ac:chgData name="Bruno Hunkeler" userId="aa893333c5787da3" providerId="LiveId" clId="{7E79ACA8-943A-4A57-B885-0EB06BDD93E2}" dt="2021-01-12T07:20:36.690" v="1780"/>
          <ac:cxnSpMkLst>
            <pc:docMk/>
            <pc:sldMk cId="78458491" sldId="1085"/>
            <ac:cxnSpMk id="84" creationId="{D72DF742-3A08-4DB5-9EB8-44393E433674}"/>
          </ac:cxnSpMkLst>
        </pc:cxnChg>
        <pc:cxnChg chg="add mod">
          <ac:chgData name="Bruno Hunkeler" userId="aa893333c5787da3" providerId="LiveId" clId="{7E79ACA8-943A-4A57-B885-0EB06BDD93E2}" dt="2021-01-11T09:11:52.092" v="1778" actId="164"/>
          <ac:cxnSpMkLst>
            <pc:docMk/>
            <pc:sldMk cId="78458491" sldId="1085"/>
            <ac:cxnSpMk id="85" creationId="{DB42B8EF-C19A-44F8-9D18-7231DB3FEE41}"/>
          </ac:cxnSpMkLst>
        </pc:cxnChg>
        <pc:cxnChg chg="mod">
          <ac:chgData name="Bruno Hunkeler" userId="aa893333c5787da3" providerId="LiveId" clId="{7E79ACA8-943A-4A57-B885-0EB06BDD93E2}" dt="2021-01-12T07:20:36.690" v="1780"/>
          <ac:cxnSpMkLst>
            <pc:docMk/>
            <pc:sldMk cId="78458491" sldId="1085"/>
            <ac:cxnSpMk id="86" creationId="{C7A42313-12CA-4B3C-A35C-91780C8B4BDB}"/>
          </ac:cxnSpMkLst>
        </pc:cxnChg>
        <pc:cxnChg chg="mod">
          <ac:chgData name="Bruno Hunkeler" userId="aa893333c5787da3" providerId="LiveId" clId="{7E79ACA8-943A-4A57-B885-0EB06BDD93E2}" dt="2021-01-12T07:20:36.690" v="1780"/>
          <ac:cxnSpMkLst>
            <pc:docMk/>
            <pc:sldMk cId="78458491" sldId="1085"/>
            <ac:cxnSpMk id="87" creationId="{48E1BC02-AB96-426D-AE3C-A98E216B8C11}"/>
          </ac:cxnSpMkLst>
        </pc:cxnChg>
        <pc:cxnChg chg="add mod">
          <ac:chgData name="Bruno Hunkeler" userId="aa893333c5787da3" providerId="LiveId" clId="{7E79ACA8-943A-4A57-B885-0EB06BDD93E2}" dt="2021-01-11T09:11:52.092" v="1778" actId="164"/>
          <ac:cxnSpMkLst>
            <pc:docMk/>
            <pc:sldMk cId="78458491" sldId="1085"/>
            <ac:cxnSpMk id="89" creationId="{AA05739B-A194-4AB1-96FA-D70C9FF2606D}"/>
          </ac:cxnSpMkLst>
        </pc:cxnChg>
        <pc:cxnChg chg="add mod">
          <ac:chgData name="Bruno Hunkeler" userId="aa893333c5787da3" providerId="LiveId" clId="{7E79ACA8-943A-4A57-B885-0EB06BDD93E2}" dt="2021-01-11T09:11:52.092" v="1778" actId="164"/>
          <ac:cxnSpMkLst>
            <pc:docMk/>
            <pc:sldMk cId="78458491" sldId="1085"/>
            <ac:cxnSpMk id="95" creationId="{2C064154-623B-4E98-983C-C7AE2C04ECB5}"/>
          </ac:cxnSpMkLst>
        </pc:cxnChg>
        <pc:cxnChg chg="mod">
          <ac:chgData name="Bruno Hunkeler" userId="aa893333c5787da3" providerId="LiveId" clId="{7E79ACA8-943A-4A57-B885-0EB06BDD93E2}" dt="2021-01-12T07:20:36.690" v="1780"/>
          <ac:cxnSpMkLst>
            <pc:docMk/>
            <pc:sldMk cId="78458491" sldId="1085"/>
            <ac:cxnSpMk id="97" creationId="{2AAFB181-3D93-4CFA-9837-CE54E6903140}"/>
          </ac:cxnSpMkLst>
        </pc:cxnChg>
        <pc:cxnChg chg="mod">
          <ac:chgData name="Bruno Hunkeler" userId="aa893333c5787da3" providerId="LiveId" clId="{7E79ACA8-943A-4A57-B885-0EB06BDD93E2}" dt="2021-01-12T07:20:36.690" v="1780"/>
          <ac:cxnSpMkLst>
            <pc:docMk/>
            <pc:sldMk cId="78458491" sldId="1085"/>
            <ac:cxnSpMk id="98" creationId="{ED6BF84D-0224-442A-AB07-D33EC6C8B7C9}"/>
          </ac:cxnSpMkLst>
        </pc:cxnChg>
        <pc:cxnChg chg="mod">
          <ac:chgData name="Bruno Hunkeler" userId="aa893333c5787da3" providerId="LiveId" clId="{7E79ACA8-943A-4A57-B885-0EB06BDD93E2}" dt="2021-01-12T07:20:36.690" v="1780"/>
          <ac:cxnSpMkLst>
            <pc:docMk/>
            <pc:sldMk cId="78458491" sldId="1085"/>
            <ac:cxnSpMk id="104" creationId="{3938E55E-3D76-40A6-9F51-CDCA99F1639C}"/>
          </ac:cxnSpMkLst>
        </pc:cxnChg>
        <pc:cxnChg chg="mod">
          <ac:chgData name="Bruno Hunkeler" userId="aa893333c5787da3" providerId="LiveId" clId="{7E79ACA8-943A-4A57-B885-0EB06BDD93E2}" dt="2021-01-12T07:20:36.690" v="1780"/>
          <ac:cxnSpMkLst>
            <pc:docMk/>
            <pc:sldMk cId="78458491" sldId="1085"/>
            <ac:cxnSpMk id="106" creationId="{A669C89A-F5B1-47CE-9F63-30D2C3AC0344}"/>
          </ac:cxnSpMkLst>
        </pc:cxnChg>
        <pc:cxnChg chg="mod">
          <ac:chgData name="Bruno Hunkeler" userId="aa893333c5787da3" providerId="LiveId" clId="{7E79ACA8-943A-4A57-B885-0EB06BDD93E2}" dt="2021-01-12T07:20:36.690" v="1780"/>
          <ac:cxnSpMkLst>
            <pc:docMk/>
            <pc:sldMk cId="78458491" sldId="1085"/>
            <ac:cxnSpMk id="107" creationId="{121DE8C7-5226-4C31-8553-895E1E24B8EB}"/>
          </ac:cxnSpMkLst>
        </pc:cxnChg>
        <pc:cxnChg chg="mod">
          <ac:chgData name="Bruno Hunkeler" userId="aa893333c5787da3" providerId="LiveId" clId="{7E79ACA8-943A-4A57-B885-0EB06BDD93E2}" dt="2021-01-12T07:20:36.690" v="1780"/>
          <ac:cxnSpMkLst>
            <pc:docMk/>
            <pc:sldMk cId="78458491" sldId="1085"/>
            <ac:cxnSpMk id="112" creationId="{82B71CFF-4ECC-4AC8-9496-B914E09A7943}"/>
          </ac:cxnSpMkLst>
        </pc:cxnChg>
        <pc:cxnChg chg="mod">
          <ac:chgData name="Bruno Hunkeler" userId="aa893333c5787da3" providerId="LiveId" clId="{7E79ACA8-943A-4A57-B885-0EB06BDD93E2}" dt="2021-01-12T07:20:36.690" v="1780"/>
          <ac:cxnSpMkLst>
            <pc:docMk/>
            <pc:sldMk cId="78458491" sldId="1085"/>
            <ac:cxnSpMk id="114" creationId="{82886BBA-BF49-4B36-813A-788B60B3EA94}"/>
          </ac:cxnSpMkLst>
        </pc:cxnChg>
        <pc:cxnChg chg="mod">
          <ac:chgData name="Bruno Hunkeler" userId="aa893333c5787da3" providerId="LiveId" clId="{7E79ACA8-943A-4A57-B885-0EB06BDD93E2}" dt="2021-01-12T07:20:36.690" v="1780"/>
          <ac:cxnSpMkLst>
            <pc:docMk/>
            <pc:sldMk cId="78458491" sldId="1085"/>
            <ac:cxnSpMk id="115" creationId="{15FC4F68-4E0A-4E57-996D-58F064DA0956}"/>
          </ac:cxnSpMkLst>
        </pc:cxnChg>
      </pc:sldChg>
      <pc:sldChg chg="addSp delSp modSp add del mod">
        <pc:chgData name="Bruno Hunkeler" userId="aa893333c5787da3" providerId="LiveId" clId="{7E79ACA8-943A-4A57-B885-0EB06BDD93E2}" dt="2021-01-14T09:58:13.015" v="3071" actId="47"/>
        <pc:sldMkLst>
          <pc:docMk/>
          <pc:sldMk cId="1586683231" sldId="1086"/>
        </pc:sldMkLst>
        <pc:spChg chg="mod topLvl">
          <ac:chgData name="Bruno Hunkeler" userId="aa893333c5787da3" providerId="LiveId" clId="{7E79ACA8-943A-4A57-B885-0EB06BDD93E2}" dt="2021-01-12T07:27:02.319" v="1799" actId="164"/>
          <ac:spMkLst>
            <pc:docMk/>
            <pc:sldMk cId="1586683231" sldId="1086"/>
            <ac:spMk id="30" creationId="{AC3AE51B-4FBF-4552-AA20-E638E7FA1772}"/>
          </ac:spMkLst>
        </pc:spChg>
        <pc:spChg chg="mod topLvl">
          <ac:chgData name="Bruno Hunkeler" userId="aa893333c5787da3" providerId="LiveId" clId="{7E79ACA8-943A-4A57-B885-0EB06BDD93E2}" dt="2021-01-12T07:27:02.319" v="1799" actId="164"/>
          <ac:spMkLst>
            <pc:docMk/>
            <pc:sldMk cId="1586683231" sldId="1086"/>
            <ac:spMk id="31" creationId="{2F9F6430-C6A3-41D8-A605-A111468A4537}"/>
          </ac:spMkLst>
        </pc:spChg>
        <pc:spChg chg="mod topLvl">
          <ac:chgData name="Bruno Hunkeler" userId="aa893333c5787da3" providerId="LiveId" clId="{7E79ACA8-943A-4A57-B885-0EB06BDD93E2}" dt="2021-01-12T07:27:02.319" v="1799" actId="164"/>
          <ac:spMkLst>
            <pc:docMk/>
            <pc:sldMk cId="1586683231" sldId="1086"/>
            <ac:spMk id="32" creationId="{4B603732-BD29-4B70-9EE4-65312A7243B8}"/>
          </ac:spMkLst>
        </pc:spChg>
        <pc:spChg chg="mod topLvl">
          <ac:chgData name="Bruno Hunkeler" userId="aa893333c5787da3" providerId="LiveId" clId="{7E79ACA8-943A-4A57-B885-0EB06BDD93E2}" dt="2021-01-12T07:27:02.319" v="1799" actId="164"/>
          <ac:spMkLst>
            <pc:docMk/>
            <pc:sldMk cId="1586683231" sldId="1086"/>
            <ac:spMk id="33" creationId="{C52C4A0F-C1A2-47DA-8742-8A20C62D21A3}"/>
          </ac:spMkLst>
        </pc:spChg>
        <pc:spChg chg="mod topLvl">
          <ac:chgData name="Bruno Hunkeler" userId="aa893333c5787da3" providerId="LiveId" clId="{7E79ACA8-943A-4A57-B885-0EB06BDD93E2}" dt="2021-01-12T07:27:02.319" v="1799" actId="164"/>
          <ac:spMkLst>
            <pc:docMk/>
            <pc:sldMk cId="1586683231" sldId="1086"/>
            <ac:spMk id="37" creationId="{8BEEF263-B2CE-4A3A-937E-AA27FFAD33C7}"/>
          </ac:spMkLst>
        </pc:spChg>
        <pc:spChg chg="mod topLvl">
          <ac:chgData name="Bruno Hunkeler" userId="aa893333c5787da3" providerId="LiveId" clId="{7E79ACA8-943A-4A57-B885-0EB06BDD93E2}" dt="2021-01-12T07:27:02.319" v="1799" actId="164"/>
          <ac:spMkLst>
            <pc:docMk/>
            <pc:sldMk cId="1586683231" sldId="1086"/>
            <ac:spMk id="38" creationId="{83C98139-68F2-4382-B1C0-D9BC4534E429}"/>
          </ac:spMkLst>
        </pc:spChg>
        <pc:spChg chg="mod topLvl">
          <ac:chgData name="Bruno Hunkeler" userId="aa893333c5787da3" providerId="LiveId" clId="{7E79ACA8-943A-4A57-B885-0EB06BDD93E2}" dt="2021-01-12T07:27:02.319" v="1799" actId="164"/>
          <ac:spMkLst>
            <pc:docMk/>
            <pc:sldMk cId="1586683231" sldId="1086"/>
            <ac:spMk id="39" creationId="{3FC93B16-1FAE-469B-B435-A8BD23B7AD78}"/>
          </ac:spMkLst>
        </pc:spChg>
        <pc:spChg chg="mod topLvl">
          <ac:chgData name="Bruno Hunkeler" userId="aa893333c5787da3" providerId="LiveId" clId="{7E79ACA8-943A-4A57-B885-0EB06BDD93E2}" dt="2021-01-12T07:27:02.319" v="1799" actId="164"/>
          <ac:spMkLst>
            <pc:docMk/>
            <pc:sldMk cId="1586683231" sldId="1086"/>
            <ac:spMk id="40" creationId="{D31F23AC-2AD9-43BA-8884-682BCC50EFF8}"/>
          </ac:spMkLst>
        </pc:spChg>
        <pc:spChg chg="mod topLvl">
          <ac:chgData name="Bruno Hunkeler" userId="aa893333c5787da3" providerId="LiveId" clId="{7E79ACA8-943A-4A57-B885-0EB06BDD93E2}" dt="2021-01-12T07:27:02.319" v="1799" actId="164"/>
          <ac:spMkLst>
            <pc:docMk/>
            <pc:sldMk cId="1586683231" sldId="1086"/>
            <ac:spMk id="48" creationId="{CC64E003-BF4D-4492-986C-F11AE389C35D}"/>
          </ac:spMkLst>
        </pc:spChg>
        <pc:spChg chg="mod topLvl">
          <ac:chgData name="Bruno Hunkeler" userId="aa893333c5787da3" providerId="LiveId" clId="{7E79ACA8-943A-4A57-B885-0EB06BDD93E2}" dt="2021-01-12T07:27:02.319" v="1799" actId="164"/>
          <ac:spMkLst>
            <pc:docMk/>
            <pc:sldMk cId="1586683231" sldId="1086"/>
            <ac:spMk id="49" creationId="{5F7F1B50-C9E6-42C2-84E5-EABE569CCF3F}"/>
          </ac:spMkLst>
        </pc:spChg>
        <pc:spChg chg="mod topLvl">
          <ac:chgData name="Bruno Hunkeler" userId="aa893333c5787da3" providerId="LiveId" clId="{7E79ACA8-943A-4A57-B885-0EB06BDD93E2}" dt="2021-01-12T07:27:02.319" v="1799" actId="164"/>
          <ac:spMkLst>
            <pc:docMk/>
            <pc:sldMk cId="1586683231" sldId="1086"/>
            <ac:spMk id="50" creationId="{4AE66C56-6F33-40CC-BD9D-A0938E58822A}"/>
          </ac:spMkLst>
        </pc:spChg>
        <pc:spChg chg="mod topLvl">
          <ac:chgData name="Bruno Hunkeler" userId="aa893333c5787da3" providerId="LiveId" clId="{7E79ACA8-943A-4A57-B885-0EB06BDD93E2}" dt="2021-01-12T07:27:02.319" v="1799" actId="164"/>
          <ac:spMkLst>
            <pc:docMk/>
            <pc:sldMk cId="1586683231" sldId="1086"/>
            <ac:spMk id="51" creationId="{60340C6E-C952-40AF-B081-91277D8935A8}"/>
          </ac:spMkLst>
        </pc:spChg>
        <pc:spChg chg="mod">
          <ac:chgData name="Bruno Hunkeler" userId="aa893333c5787da3" providerId="LiveId" clId="{7E79ACA8-943A-4A57-B885-0EB06BDD93E2}" dt="2021-01-12T07:26:39.613" v="1788" actId="165"/>
          <ac:spMkLst>
            <pc:docMk/>
            <pc:sldMk cId="1586683231" sldId="1086"/>
            <ac:spMk id="53" creationId="{541462D8-01A1-4B13-8B29-A1E8B41181D3}"/>
          </ac:spMkLst>
        </pc:spChg>
        <pc:spChg chg="mod topLvl">
          <ac:chgData name="Bruno Hunkeler" userId="aa893333c5787da3" providerId="LiveId" clId="{7E79ACA8-943A-4A57-B885-0EB06BDD93E2}" dt="2021-01-12T07:27:02.319" v="1799" actId="164"/>
          <ac:spMkLst>
            <pc:docMk/>
            <pc:sldMk cId="1586683231" sldId="1086"/>
            <ac:spMk id="56" creationId="{282EA6F6-7F9E-460A-8CAB-C1AF1BB13A64}"/>
          </ac:spMkLst>
        </pc:spChg>
        <pc:spChg chg="mod">
          <ac:chgData name="Bruno Hunkeler" userId="aa893333c5787da3" providerId="LiveId" clId="{7E79ACA8-943A-4A57-B885-0EB06BDD93E2}" dt="2021-01-12T07:26:39.613" v="1788" actId="165"/>
          <ac:spMkLst>
            <pc:docMk/>
            <pc:sldMk cId="1586683231" sldId="1086"/>
            <ac:spMk id="61" creationId="{EE37D09E-ABFA-4792-B8C3-2575FC293596}"/>
          </ac:spMkLst>
        </pc:spChg>
        <pc:spChg chg="mod topLvl">
          <ac:chgData name="Bruno Hunkeler" userId="aa893333c5787da3" providerId="LiveId" clId="{7E79ACA8-943A-4A57-B885-0EB06BDD93E2}" dt="2021-01-12T07:27:02.319" v="1799" actId="164"/>
          <ac:spMkLst>
            <pc:docMk/>
            <pc:sldMk cId="1586683231" sldId="1086"/>
            <ac:spMk id="62" creationId="{C209E82F-1047-4779-ABBA-1C2982209BC2}"/>
          </ac:spMkLst>
        </pc:spChg>
        <pc:spChg chg="mod topLvl">
          <ac:chgData name="Bruno Hunkeler" userId="aa893333c5787da3" providerId="LiveId" clId="{7E79ACA8-943A-4A57-B885-0EB06BDD93E2}" dt="2021-01-12T07:27:02.319" v="1799" actId="164"/>
          <ac:spMkLst>
            <pc:docMk/>
            <pc:sldMk cId="1586683231" sldId="1086"/>
            <ac:spMk id="63" creationId="{1DBB10AF-970C-4B43-85C7-C95FA7AEFA69}"/>
          </ac:spMkLst>
        </pc:spChg>
        <pc:spChg chg="mod topLvl">
          <ac:chgData name="Bruno Hunkeler" userId="aa893333c5787da3" providerId="LiveId" clId="{7E79ACA8-943A-4A57-B885-0EB06BDD93E2}" dt="2021-01-12T07:27:02.319" v="1799" actId="164"/>
          <ac:spMkLst>
            <pc:docMk/>
            <pc:sldMk cId="1586683231" sldId="1086"/>
            <ac:spMk id="64" creationId="{2443DB29-6E06-4303-ADBF-5E5EF66DE6A3}"/>
          </ac:spMkLst>
        </pc:spChg>
        <pc:spChg chg="mod">
          <ac:chgData name="Bruno Hunkeler" userId="aa893333c5787da3" providerId="LiveId" clId="{7E79ACA8-943A-4A57-B885-0EB06BDD93E2}" dt="2021-01-12T07:26:39.613" v="1788" actId="165"/>
          <ac:spMkLst>
            <pc:docMk/>
            <pc:sldMk cId="1586683231" sldId="1086"/>
            <ac:spMk id="67" creationId="{636CFF45-8086-4525-BEF6-5087C4DE104D}"/>
          </ac:spMkLst>
        </pc:spChg>
        <pc:spChg chg="mod">
          <ac:chgData name="Bruno Hunkeler" userId="aa893333c5787da3" providerId="LiveId" clId="{7E79ACA8-943A-4A57-B885-0EB06BDD93E2}" dt="2021-01-12T07:26:39.613" v="1788" actId="165"/>
          <ac:spMkLst>
            <pc:docMk/>
            <pc:sldMk cId="1586683231" sldId="1086"/>
            <ac:spMk id="73" creationId="{2CDED979-644D-40C6-9A4D-F39EA83C3975}"/>
          </ac:spMkLst>
        </pc:spChg>
        <pc:spChg chg="mod topLvl">
          <ac:chgData name="Bruno Hunkeler" userId="aa893333c5787da3" providerId="LiveId" clId="{7E79ACA8-943A-4A57-B885-0EB06BDD93E2}" dt="2021-01-12T07:27:02.319" v="1799" actId="164"/>
          <ac:spMkLst>
            <pc:docMk/>
            <pc:sldMk cId="1586683231" sldId="1086"/>
            <ac:spMk id="74" creationId="{1FA11B8B-29EA-456F-8D99-3A4A9C341D6D}"/>
          </ac:spMkLst>
        </pc:spChg>
        <pc:spChg chg="mod topLvl">
          <ac:chgData name="Bruno Hunkeler" userId="aa893333c5787da3" providerId="LiveId" clId="{7E79ACA8-943A-4A57-B885-0EB06BDD93E2}" dt="2021-01-12T07:27:02.319" v="1799" actId="164"/>
          <ac:spMkLst>
            <pc:docMk/>
            <pc:sldMk cId="1586683231" sldId="1086"/>
            <ac:spMk id="75" creationId="{1C595E47-9CF0-4FEE-A421-1E478AC8D9DB}"/>
          </ac:spMkLst>
        </pc:spChg>
        <pc:spChg chg="mod topLvl">
          <ac:chgData name="Bruno Hunkeler" userId="aa893333c5787da3" providerId="LiveId" clId="{7E79ACA8-943A-4A57-B885-0EB06BDD93E2}" dt="2021-01-12T07:27:02.319" v="1799" actId="164"/>
          <ac:spMkLst>
            <pc:docMk/>
            <pc:sldMk cId="1586683231" sldId="1086"/>
            <ac:spMk id="76" creationId="{81775D60-3A98-4316-87A5-A9EBF60B00DB}"/>
          </ac:spMkLst>
        </pc:spChg>
        <pc:spChg chg="mod topLvl">
          <ac:chgData name="Bruno Hunkeler" userId="aa893333c5787da3" providerId="LiveId" clId="{7E79ACA8-943A-4A57-B885-0EB06BDD93E2}" dt="2021-01-12T07:27:02.319" v="1799" actId="164"/>
          <ac:spMkLst>
            <pc:docMk/>
            <pc:sldMk cId="1586683231" sldId="1086"/>
            <ac:spMk id="77" creationId="{4CEFE013-6C92-4660-8F85-0B9C4F8C3A64}"/>
          </ac:spMkLst>
        </pc:spChg>
        <pc:spChg chg="mod topLvl">
          <ac:chgData name="Bruno Hunkeler" userId="aa893333c5787da3" providerId="LiveId" clId="{7E79ACA8-943A-4A57-B885-0EB06BDD93E2}" dt="2021-01-12T07:27:02.319" v="1799" actId="164"/>
          <ac:spMkLst>
            <pc:docMk/>
            <pc:sldMk cId="1586683231" sldId="1086"/>
            <ac:spMk id="88" creationId="{113E720B-80EB-4844-9712-4D79931275C1}"/>
          </ac:spMkLst>
        </pc:spChg>
        <pc:grpChg chg="add del mod">
          <ac:chgData name="Bruno Hunkeler" userId="aa893333c5787da3" providerId="LiveId" clId="{7E79ACA8-943A-4A57-B885-0EB06BDD93E2}" dt="2021-01-12T07:26:39.613" v="1788" actId="165"/>
          <ac:grpSpMkLst>
            <pc:docMk/>
            <pc:sldMk cId="1586683231" sldId="1086"/>
            <ac:grpSpMk id="2" creationId="{15BE0416-62F9-466E-B4C0-D1A270CF0134}"/>
          </ac:grpSpMkLst>
        </pc:grpChg>
        <pc:grpChg chg="add mod">
          <ac:chgData name="Bruno Hunkeler" userId="aa893333c5787da3" providerId="LiveId" clId="{7E79ACA8-943A-4A57-B885-0EB06BDD93E2}" dt="2021-01-12T07:27:02.319" v="1799" actId="164"/>
          <ac:grpSpMkLst>
            <pc:docMk/>
            <pc:sldMk cId="1586683231" sldId="1086"/>
            <ac:grpSpMk id="3" creationId="{7477A1CA-F1A6-4408-81F2-324B3DFA9400}"/>
          </ac:grpSpMkLst>
        </pc:grpChg>
        <pc:grpChg chg="mod topLvl">
          <ac:chgData name="Bruno Hunkeler" userId="aa893333c5787da3" providerId="LiveId" clId="{7E79ACA8-943A-4A57-B885-0EB06BDD93E2}" dt="2021-01-12T07:27:02.319" v="1799" actId="164"/>
          <ac:grpSpMkLst>
            <pc:docMk/>
            <pc:sldMk cId="1586683231" sldId="1086"/>
            <ac:grpSpMk id="35" creationId="{DA3F7157-2D9D-4A39-A39C-D58CE677302A}"/>
          </ac:grpSpMkLst>
        </pc:grpChg>
        <pc:grpChg chg="mod topLvl">
          <ac:chgData name="Bruno Hunkeler" userId="aa893333c5787da3" providerId="LiveId" clId="{7E79ACA8-943A-4A57-B885-0EB06BDD93E2}" dt="2021-01-12T07:27:02.319" v="1799" actId="164"/>
          <ac:grpSpMkLst>
            <pc:docMk/>
            <pc:sldMk cId="1586683231" sldId="1086"/>
            <ac:grpSpMk id="57" creationId="{2EF66B59-4290-4617-8C03-D6FFF2D69E34}"/>
          </ac:grpSpMkLst>
        </pc:grpChg>
        <pc:grpChg chg="mod topLvl">
          <ac:chgData name="Bruno Hunkeler" userId="aa893333c5787da3" providerId="LiveId" clId="{7E79ACA8-943A-4A57-B885-0EB06BDD93E2}" dt="2021-01-12T07:27:02.319" v="1799" actId="164"/>
          <ac:grpSpMkLst>
            <pc:docMk/>
            <pc:sldMk cId="1586683231" sldId="1086"/>
            <ac:grpSpMk id="65" creationId="{1F1763B1-29F8-4061-AEC8-884BFF41775C}"/>
          </ac:grpSpMkLst>
        </pc:grpChg>
        <pc:grpChg chg="mod topLvl">
          <ac:chgData name="Bruno Hunkeler" userId="aa893333c5787da3" providerId="LiveId" clId="{7E79ACA8-943A-4A57-B885-0EB06BDD93E2}" dt="2021-01-12T07:27:02.319" v="1799" actId="164"/>
          <ac:grpSpMkLst>
            <pc:docMk/>
            <pc:sldMk cId="1586683231" sldId="1086"/>
            <ac:grpSpMk id="71" creationId="{37049FCD-F244-4B3C-AA89-A21238BE564B}"/>
          </ac:grpSpMkLst>
        </pc:grpChg>
        <pc:grpChg chg="del">
          <ac:chgData name="Bruno Hunkeler" userId="aa893333c5787da3" providerId="LiveId" clId="{7E79ACA8-943A-4A57-B885-0EB06BDD93E2}" dt="2021-01-12T07:20:53.396" v="1783" actId="165"/>
          <ac:grpSpMkLst>
            <pc:docMk/>
            <pc:sldMk cId="1586683231" sldId="1086"/>
            <ac:grpSpMk id="96" creationId="{98C4FBDB-D908-40BF-B568-DD7B67EFE1F3}"/>
          </ac:grpSpMkLst>
        </pc:grpChg>
        <pc:picChg chg="mod">
          <ac:chgData name="Bruno Hunkeler" userId="aa893333c5787da3" providerId="LiveId" clId="{7E79ACA8-943A-4A57-B885-0EB06BDD93E2}" dt="2021-01-12T07:26:39.613" v="1788" actId="165"/>
          <ac:picMkLst>
            <pc:docMk/>
            <pc:sldMk cId="1586683231" sldId="1086"/>
            <ac:picMk id="52" creationId="{FA0B0BB1-8782-4157-88B2-52573968FC5A}"/>
          </ac:picMkLst>
        </pc:picChg>
        <pc:picChg chg="mod">
          <ac:chgData name="Bruno Hunkeler" userId="aa893333c5787da3" providerId="LiveId" clId="{7E79ACA8-943A-4A57-B885-0EB06BDD93E2}" dt="2021-01-12T07:26:39.613" v="1788" actId="165"/>
          <ac:picMkLst>
            <pc:docMk/>
            <pc:sldMk cId="1586683231" sldId="1086"/>
            <ac:picMk id="60" creationId="{184BED0C-8F5A-4DB5-8AC9-731B8D576F60}"/>
          </ac:picMkLst>
        </pc:picChg>
        <pc:picChg chg="mod">
          <ac:chgData name="Bruno Hunkeler" userId="aa893333c5787da3" providerId="LiveId" clId="{7E79ACA8-943A-4A57-B885-0EB06BDD93E2}" dt="2021-01-12T07:26:39.613" v="1788" actId="165"/>
          <ac:picMkLst>
            <pc:docMk/>
            <pc:sldMk cId="1586683231" sldId="1086"/>
            <ac:picMk id="66" creationId="{8F7DCF30-13CC-4C94-B342-49540DFD6A40}"/>
          </ac:picMkLst>
        </pc:picChg>
        <pc:picChg chg="mod">
          <ac:chgData name="Bruno Hunkeler" userId="aa893333c5787da3" providerId="LiveId" clId="{7E79ACA8-943A-4A57-B885-0EB06BDD93E2}" dt="2021-01-12T07:26:39.613" v="1788" actId="165"/>
          <ac:picMkLst>
            <pc:docMk/>
            <pc:sldMk cId="1586683231" sldId="1086"/>
            <ac:picMk id="72" creationId="{782A2117-0BF8-417F-A2B4-1F613B7FEB0D}"/>
          </ac:picMkLst>
        </pc:picChg>
        <pc:cxnChg chg="mod topLvl">
          <ac:chgData name="Bruno Hunkeler" userId="aa893333c5787da3" providerId="LiveId" clId="{7E79ACA8-943A-4A57-B885-0EB06BDD93E2}" dt="2021-01-12T07:27:02.319" v="1799" actId="164"/>
          <ac:cxnSpMkLst>
            <pc:docMk/>
            <pc:sldMk cId="1586683231" sldId="1086"/>
            <ac:cxnSpMk id="6" creationId="{A8B74912-5F7E-48B3-A204-DC20C7C66A4B}"/>
          </ac:cxnSpMkLst>
        </pc:cxnChg>
        <pc:cxnChg chg="mod topLvl">
          <ac:chgData name="Bruno Hunkeler" userId="aa893333c5787da3" providerId="LiveId" clId="{7E79ACA8-943A-4A57-B885-0EB06BDD93E2}" dt="2021-01-12T07:27:02.319" v="1799" actId="164"/>
          <ac:cxnSpMkLst>
            <pc:docMk/>
            <pc:sldMk cId="1586683231" sldId="1086"/>
            <ac:cxnSpMk id="36" creationId="{35081949-6001-4983-9DFE-DD27D2B674BE}"/>
          </ac:cxnSpMkLst>
        </pc:cxnChg>
        <pc:cxnChg chg="mod topLvl">
          <ac:chgData name="Bruno Hunkeler" userId="aa893333c5787da3" providerId="LiveId" clId="{7E79ACA8-943A-4A57-B885-0EB06BDD93E2}" dt="2021-01-12T07:27:02.319" v="1799" actId="164"/>
          <ac:cxnSpMkLst>
            <pc:docMk/>
            <pc:sldMk cId="1586683231" sldId="1086"/>
            <ac:cxnSpMk id="41" creationId="{C2F9171E-6E9B-4100-B58B-B2EBC900FBF6}"/>
          </ac:cxnSpMkLst>
        </pc:cxnChg>
        <pc:cxnChg chg="mod topLvl">
          <ac:chgData name="Bruno Hunkeler" userId="aa893333c5787da3" providerId="LiveId" clId="{7E79ACA8-943A-4A57-B885-0EB06BDD93E2}" dt="2021-01-12T07:27:02.319" v="1799" actId="164"/>
          <ac:cxnSpMkLst>
            <pc:docMk/>
            <pc:sldMk cId="1586683231" sldId="1086"/>
            <ac:cxnSpMk id="42" creationId="{47169235-38F1-439A-87FB-A35ABD564994}"/>
          </ac:cxnSpMkLst>
        </pc:cxnChg>
        <pc:cxnChg chg="mod topLvl">
          <ac:chgData name="Bruno Hunkeler" userId="aa893333c5787da3" providerId="LiveId" clId="{7E79ACA8-943A-4A57-B885-0EB06BDD93E2}" dt="2021-01-12T07:27:02.319" v="1799" actId="164"/>
          <ac:cxnSpMkLst>
            <pc:docMk/>
            <pc:sldMk cId="1586683231" sldId="1086"/>
            <ac:cxnSpMk id="44" creationId="{CF64FA6B-3E16-43E1-9A13-7B1D218D7E13}"/>
          </ac:cxnSpMkLst>
        </pc:cxnChg>
        <pc:cxnChg chg="mod topLvl">
          <ac:chgData name="Bruno Hunkeler" userId="aa893333c5787da3" providerId="LiveId" clId="{7E79ACA8-943A-4A57-B885-0EB06BDD93E2}" dt="2021-01-12T07:27:02.319" v="1799" actId="164"/>
          <ac:cxnSpMkLst>
            <pc:docMk/>
            <pc:sldMk cId="1586683231" sldId="1086"/>
            <ac:cxnSpMk id="46" creationId="{A796D7C1-8D51-4B3D-A96E-CC8E86D242BC}"/>
          </ac:cxnSpMkLst>
        </pc:cxnChg>
        <pc:cxnChg chg="mod topLvl">
          <ac:chgData name="Bruno Hunkeler" userId="aa893333c5787da3" providerId="LiveId" clId="{7E79ACA8-943A-4A57-B885-0EB06BDD93E2}" dt="2021-01-12T07:27:02.319" v="1799" actId="164"/>
          <ac:cxnSpMkLst>
            <pc:docMk/>
            <pc:sldMk cId="1586683231" sldId="1086"/>
            <ac:cxnSpMk id="47" creationId="{D7B763C1-04E8-4BAA-9F62-07E63F3FBB15}"/>
          </ac:cxnSpMkLst>
        </pc:cxnChg>
        <pc:cxnChg chg="mod topLvl">
          <ac:chgData name="Bruno Hunkeler" userId="aa893333c5787da3" providerId="LiveId" clId="{7E79ACA8-943A-4A57-B885-0EB06BDD93E2}" dt="2021-01-12T07:27:02.319" v="1799" actId="164"/>
          <ac:cxnSpMkLst>
            <pc:docMk/>
            <pc:sldMk cId="1586683231" sldId="1086"/>
            <ac:cxnSpMk id="58" creationId="{9E60B67F-F6AE-457E-9641-4EC5EF2A2526}"/>
          </ac:cxnSpMkLst>
        </pc:cxnChg>
        <pc:cxnChg chg="mod topLvl">
          <ac:chgData name="Bruno Hunkeler" userId="aa893333c5787da3" providerId="LiveId" clId="{7E79ACA8-943A-4A57-B885-0EB06BDD93E2}" dt="2021-01-12T07:27:02.319" v="1799" actId="164"/>
          <ac:cxnSpMkLst>
            <pc:docMk/>
            <pc:sldMk cId="1586683231" sldId="1086"/>
            <ac:cxnSpMk id="68" creationId="{35DEB4B4-9E6D-4792-8804-270C37B4E15D}"/>
          </ac:cxnSpMkLst>
        </pc:cxnChg>
        <pc:cxnChg chg="mod topLvl">
          <ac:chgData name="Bruno Hunkeler" userId="aa893333c5787da3" providerId="LiveId" clId="{7E79ACA8-943A-4A57-B885-0EB06BDD93E2}" dt="2021-01-12T07:27:02.319" v="1799" actId="164"/>
          <ac:cxnSpMkLst>
            <pc:docMk/>
            <pc:sldMk cId="1586683231" sldId="1086"/>
            <ac:cxnSpMk id="85" creationId="{DB42B8EF-C19A-44F8-9D18-7231DB3FEE41}"/>
          </ac:cxnSpMkLst>
        </pc:cxnChg>
        <pc:cxnChg chg="mod topLvl">
          <ac:chgData name="Bruno Hunkeler" userId="aa893333c5787da3" providerId="LiveId" clId="{7E79ACA8-943A-4A57-B885-0EB06BDD93E2}" dt="2021-01-12T07:27:02.319" v="1799" actId="164"/>
          <ac:cxnSpMkLst>
            <pc:docMk/>
            <pc:sldMk cId="1586683231" sldId="1086"/>
            <ac:cxnSpMk id="89" creationId="{AA05739B-A194-4AB1-96FA-D70C9FF2606D}"/>
          </ac:cxnSpMkLst>
        </pc:cxnChg>
        <pc:cxnChg chg="mod topLvl">
          <ac:chgData name="Bruno Hunkeler" userId="aa893333c5787da3" providerId="LiveId" clId="{7E79ACA8-943A-4A57-B885-0EB06BDD93E2}" dt="2021-01-12T07:27:02.319" v="1799" actId="164"/>
          <ac:cxnSpMkLst>
            <pc:docMk/>
            <pc:sldMk cId="1586683231" sldId="1086"/>
            <ac:cxnSpMk id="95" creationId="{2C064154-623B-4E98-983C-C7AE2C04ECB5}"/>
          </ac:cxnSpMkLst>
        </pc:cxnChg>
      </pc:sldChg>
      <pc:sldChg chg="addSp modSp new mod">
        <pc:chgData name="Bruno Hunkeler" userId="aa893333c5787da3" providerId="LiveId" clId="{7E79ACA8-943A-4A57-B885-0EB06BDD93E2}" dt="2021-01-14T14:13:02.344" v="3984" actId="20577"/>
        <pc:sldMkLst>
          <pc:docMk/>
          <pc:sldMk cId="795152085" sldId="1087"/>
        </pc:sldMkLst>
        <pc:spChg chg="add mod">
          <ac:chgData name="Bruno Hunkeler" userId="aa893333c5787da3" providerId="LiveId" clId="{7E79ACA8-943A-4A57-B885-0EB06BDD93E2}" dt="2021-01-14T14:13:02.344" v="3984" actId="20577"/>
          <ac:spMkLst>
            <pc:docMk/>
            <pc:sldMk cId="795152085" sldId="1087"/>
            <ac:spMk id="4" creationId="{F3161314-2B4D-4D96-90D4-CE4F22C3E727}"/>
          </ac:spMkLst>
        </pc:spChg>
        <pc:spChg chg="add mod">
          <ac:chgData name="Bruno Hunkeler" userId="aa893333c5787da3" providerId="LiveId" clId="{7E79ACA8-943A-4A57-B885-0EB06BDD93E2}" dt="2021-01-14T07:30:03.059" v="2356" actId="1076"/>
          <ac:spMkLst>
            <pc:docMk/>
            <pc:sldMk cId="795152085" sldId="1087"/>
            <ac:spMk id="7" creationId="{56530C84-31CE-4C68-B44E-51F57EB92490}"/>
          </ac:spMkLst>
        </pc:spChg>
        <pc:spChg chg="add mod">
          <ac:chgData name="Bruno Hunkeler" userId="aa893333c5787da3" providerId="LiveId" clId="{7E79ACA8-943A-4A57-B885-0EB06BDD93E2}" dt="2021-01-14T07:29:54.435" v="2355" actId="1076"/>
          <ac:spMkLst>
            <pc:docMk/>
            <pc:sldMk cId="795152085" sldId="1087"/>
            <ac:spMk id="8" creationId="{D67A7603-0170-4094-BA56-EB1CB4B099D3}"/>
          </ac:spMkLst>
        </pc:spChg>
        <pc:picChg chg="add mod">
          <ac:chgData name="Bruno Hunkeler" userId="aa893333c5787da3" providerId="LiveId" clId="{7E79ACA8-943A-4A57-B885-0EB06BDD93E2}" dt="2021-01-12T19:06:27.760" v="1904" actId="1076"/>
          <ac:picMkLst>
            <pc:docMk/>
            <pc:sldMk cId="795152085" sldId="1087"/>
            <ac:picMk id="2" creationId="{68BA59E9-80F8-4A74-AB7D-8C9C7E828323}"/>
          </ac:picMkLst>
        </pc:picChg>
        <pc:picChg chg="add mod">
          <ac:chgData name="Bruno Hunkeler" userId="aa893333c5787da3" providerId="LiveId" clId="{7E79ACA8-943A-4A57-B885-0EB06BDD93E2}" dt="2021-01-12T19:06:27.760" v="1904" actId="1076"/>
          <ac:picMkLst>
            <pc:docMk/>
            <pc:sldMk cId="795152085" sldId="1087"/>
            <ac:picMk id="3" creationId="{A4E25D40-A370-4F1B-A56F-CAD8049434C2}"/>
          </ac:picMkLst>
        </pc:picChg>
        <pc:picChg chg="add mod">
          <ac:chgData name="Bruno Hunkeler" userId="aa893333c5787da3" providerId="LiveId" clId="{7E79ACA8-943A-4A57-B885-0EB06BDD93E2}" dt="2021-01-14T07:29:48.091" v="2354" actId="14100"/>
          <ac:picMkLst>
            <pc:docMk/>
            <pc:sldMk cId="795152085" sldId="1087"/>
            <ac:picMk id="5" creationId="{C383E8B5-F1C1-4AFB-8CC5-885B37A3F3AD}"/>
          </ac:picMkLst>
        </pc:picChg>
        <pc:picChg chg="add mod">
          <ac:chgData name="Bruno Hunkeler" userId="aa893333c5787da3" providerId="LiveId" clId="{7E79ACA8-943A-4A57-B885-0EB06BDD93E2}" dt="2021-01-14T07:29:32.699" v="2352" actId="14100"/>
          <ac:picMkLst>
            <pc:docMk/>
            <pc:sldMk cId="795152085" sldId="1087"/>
            <ac:picMk id="6" creationId="{2252277D-F498-449B-8D38-8FF9537F3EFA}"/>
          </ac:picMkLst>
        </pc:picChg>
      </pc:sldChg>
      <pc:sldChg chg="addSp delSp modSp new mod">
        <pc:chgData name="Bruno Hunkeler" userId="aa893333c5787da3" providerId="LiveId" clId="{7E79ACA8-943A-4A57-B885-0EB06BDD93E2}" dt="2021-01-14T14:27:25.550" v="4046" actId="20577"/>
        <pc:sldMkLst>
          <pc:docMk/>
          <pc:sldMk cId="1598045969" sldId="1088"/>
        </pc:sldMkLst>
        <pc:spChg chg="add del mod">
          <ac:chgData name="Bruno Hunkeler" userId="aa893333c5787da3" providerId="LiveId" clId="{7E79ACA8-943A-4A57-B885-0EB06BDD93E2}" dt="2021-01-12T19:18:25.581" v="2038" actId="478"/>
          <ac:spMkLst>
            <pc:docMk/>
            <pc:sldMk cId="1598045969" sldId="1088"/>
            <ac:spMk id="2" creationId="{A5A257F9-1AF2-4181-A1CC-92E956605AAD}"/>
          </ac:spMkLst>
        </pc:spChg>
        <pc:spChg chg="add mod">
          <ac:chgData name="Bruno Hunkeler" userId="aa893333c5787da3" providerId="LiveId" clId="{7E79ACA8-943A-4A57-B885-0EB06BDD93E2}" dt="2021-01-14T14:27:25.550" v="4046" actId="20577"/>
          <ac:spMkLst>
            <pc:docMk/>
            <pc:sldMk cId="1598045969" sldId="1088"/>
            <ac:spMk id="3" creationId="{6785C2B8-2CD1-4B03-8B89-4AAE0ED6CE19}"/>
          </ac:spMkLst>
        </pc:spChg>
        <pc:spChg chg="add mod">
          <ac:chgData name="Bruno Hunkeler" userId="aa893333c5787da3" providerId="LiveId" clId="{7E79ACA8-943A-4A57-B885-0EB06BDD93E2}" dt="2021-01-14T07:32:06.453" v="2393" actId="20577"/>
          <ac:spMkLst>
            <pc:docMk/>
            <pc:sldMk cId="1598045969" sldId="1088"/>
            <ac:spMk id="4" creationId="{588BBBAD-F91D-4408-B7BB-2B3C06679F38}"/>
          </ac:spMkLst>
        </pc:spChg>
      </pc:sldChg>
      <pc:sldChg chg="addSp delSp modSp add del mod ord">
        <pc:chgData name="Bruno Hunkeler" userId="aa893333c5787da3" providerId="LiveId" clId="{7E79ACA8-943A-4A57-B885-0EB06BDD93E2}" dt="2021-01-14T14:09:43.159" v="3953" actId="1076"/>
        <pc:sldMkLst>
          <pc:docMk/>
          <pc:sldMk cId="1126710986" sldId="1089"/>
        </pc:sldMkLst>
        <pc:spChg chg="del">
          <ac:chgData name="Bruno Hunkeler" userId="aa893333c5787da3" providerId="LiveId" clId="{7E79ACA8-943A-4A57-B885-0EB06BDD93E2}" dt="2021-01-14T14:09:28.562" v="3950" actId="478"/>
          <ac:spMkLst>
            <pc:docMk/>
            <pc:sldMk cId="1126710986" sldId="1089"/>
            <ac:spMk id="3" creationId="{35116C3E-AD48-4156-885C-45C85B8293B7}"/>
          </ac:spMkLst>
        </pc:spChg>
        <pc:spChg chg="del">
          <ac:chgData name="Bruno Hunkeler" userId="aa893333c5787da3" providerId="LiveId" clId="{7E79ACA8-943A-4A57-B885-0EB06BDD93E2}" dt="2021-01-14T14:09:28.562" v="3950" actId="478"/>
          <ac:spMkLst>
            <pc:docMk/>
            <pc:sldMk cId="1126710986" sldId="1089"/>
            <ac:spMk id="44" creationId="{4CACBBE6-A57D-4403-8CD1-BA5C35F11BB8}"/>
          </ac:spMkLst>
        </pc:spChg>
        <pc:spChg chg="del">
          <ac:chgData name="Bruno Hunkeler" userId="aa893333c5787da3" providerId="LiveId" clId="{7E79ACA8-943A-4A57-B885-0EB06BDD93E2}" dt="2021-01-14T14:09:28.562" v="3950" actId="478"/>
          <ac:spMkLst>
            <pc:docMk/>
            <pc:sldMk cId="1126710986" sldId="1089"/>
            <ac:spMk id="45" creationId="{54B1D08B-4B8E-4A8A-AC3D-DDEBA64D98C7}"/>
          </ac:spMkLst>
        </pc:spChg>
        <pc:spChg chg="del">
          <ac:chgData name="Bruno Hunkeler" userId="aa893333c5787da3" providerId="LiveId" clId="{7E79ACA8-943A-4A57-B885-0EB06BDD93E2}" dt="2021-01-14T14:09:28.562" v="3950" actId="478"/>
          <ac:spMkLst>
            <pc:docMk/>
            <pc:sldMk cId="1126710986" sldId="1089"/>
            <ac:spMk id="46" creationId="{43661ADE-68E2-4154-B9F9-1CFE5ED263DE}"/>
          </ac:spMkLst>
        </pc:spChg>
        <pc:spChg chg="del">
          <ac:chgData name="Bruno Hunkeler" userId="aa893333c5787da3" providerId="LiveId" clId="{7E79ACA8-943A-4A57-B885-0EB06BDD93E2}" dt="2021-01-14T14:09:28.562" v="3950" actId="478"/>
          <ac:spMkLst>
            <pc:docMk/>
            <pc:sldMk cId="1126710986" sldId="1089"/>
            <ac:spMk id="49" creationId="{2F700A0F-E937-438A-9582-E0CFD41E8A8A}"/>
          </ac:spMkLst>
        </pc:spChg>
        <pc:spChg chg="del">
          <ac:chgData name="Bruno Hunkeler" userId="aa893333c5787da3" providerId="LiveId" clId="{7E79ACA8-943A-4A57-B885-0EB06BDD93E2}" dt="2021-01-14T14:09:28.562" v="3950" actId="478"/>
          <ac:spMkLst>
            <pc:docMk/>
            <pc:sldMk cId="1126710986" sldId="1089"/>
            <ac:spMk id="50" creationId="{2892E386-E64D-49AE-992E-23929B45BB51}"/>
          </ac:spMkLst>
        </pc:spChg>
        <pc:spChg chg="del">
          <ac:chgData name="Bruno Hunkeler" userId="aa893333c5787da3" providerId="LiveId" clId="{7E79ACA8-943A-4A57-B885-0EB06BDD93E2}" dt="2021-01-14T14:09:28.562" v="3950" actId="478"/>
          <ac:spMkLst>
            <pc:docMk/>
            <pc:sldMk cId="1126710986" sldId="1089"/>
            <ac:spMk id="51" creationId="{E13DEDE7-C967-459C-A124-55C69EE64F00}"/>
          </ac:spMkLst>
        </pc:spChg>
        <pc:spChg chg="del">
          <ac:chgData name="Bruno Hunkeler" userId="aa893333c5787da3" providerId="LiveId" clId="{7E79ACA8-943A-4A57-B885-0EB06BDD93E2}" dt="2021-01-14T14:09:28.562" v="3950" actId="478"/>
          <ac:spMkLst>
            <pc:docMk/>
            <pc:sldMk cId="1126710986" sldId="1089"/>
            <ac:spMk id="52" creationId="{844098C7-A495-4EBD-9C63-2E2718C36F09}"/>
          </ac:spMkLst>
        </pc:spChg>
        <pc:spChg chg="del">
          <ac:chgData name="Bruno Hunkeler" userId="aa893333c5787da3" providerId="LiveId" clId="{7E79ACA8-943A-4A57-B885-0EB06BDD93E2}" dt="2021-01-14T14:09:28.562" v="3950" actId="478"/>
          <ac:spMkLst>
            <pc:docMk/>
            <pc:sldMk cId="1126710986" sldId="1089"/>
            <ac:spMk id="56" creationId="{7752AFCA-2F50-4178-A19D-2B7FFCA94200}"/>
          </ac:spMkLst>
        </pc:spChg>
        <pc:spChg chg="del">
          <ac:chgData name="Bruno Hunkeler" userId="aa893333c5787da3" providerId="LiveId" clId="{7E79ACA8-943A-4A57-B885-0EB06BDD93E2}" dt="2021-01-14T14:09:28.562" v="3950" actId="478"/>
          <ac:spMkLst>
            <pc:docMk/>
            <pc:sldMk cId="1126710986" sldId="1089"/>
            <ac:spMk id="57" creationId="{B8FE2995-EE58-4053-A904-FD9ABEE56DC4}"/>
          </ac:spMkLst>
        </pc:spChg>
        <pc:spChg chg="del">
          <ac:chgData name="Bruno Hunkeler" userId="aa893333c5787da3" providerId="LiveId" clId="{7E79ACA8-943A-4A57-B885-0EB06BDD93E2}" dt="2021-01-14T14:09:28.562" v="3950" actId="478"/>
          <ac:spMkLst>
            <pc:docMk/>
            <pc:sldMk cId="1126710986" sldId="1089"/>
            <ac:spMk id="58" creationId="{A105A95C-2498-40B9-91BD-4E17A7A40902}"/>
          </ac:spMkLst>
        </pc:spChg>
        <pc:spChg chg="del">
          <ac:chgData name="Bruno Hunkeler" userId="aa893333c5787da3" providerId="LiveId" clId="{7E79ACA8-943A-4A57-B885-0EB06BDD93E2}" dt="2021-01-14T14:09:28.562" v="3950" actId="478"/>
          <ac:spMkLst>
            <pc:docMk/>
            <pc:sldMk cId="1126710986" sldId="1089"/>
            <ac:spMk id="59" creationId="{71FE699D-1DB4-4296-85AE-1877EF55090E}"/>
          </ac:spMkLst>
        </pc:spChg>
        <pc:spChg chg="del">
          <ac:chgData name="Bruno Hunkeler" userId="aa893333c5787da3" providerId="LiveId" clId="{7E79ACA8-943A-4A57-B885-0EB06BDD93E2}" dt="2021-01-14T14:09:28.562" v="3950" actId="478"/>
          <ac:spMkLst>
            <pc:docMk/>
            <pc:sldMk cId="1126710986" sldId="1089"/>
            <ac:spMk id="60" creationId="{04A3A990-0BBE-4E76-BA43-C14DD7FBD423}"/>
          </ac:spMkLst>
        </pc:spChg>
        <pc:spChg chg="del">
          <ac:chgData name="Bruno Hunkeler" userId="aa893333c5787da3" providerId="LiveId" clId="{7E79ACA8-943A-4A57-B885-0EB06BDD93E2}" dt="2021-01-14T14:09:28.562" v="3950" actId="478"/>
          <ac:spMkLst>
            <pc:docMk/>
            <pc:sldMk cId="1126710986" sldId="1089"/>
            <ac:spMk id="64" creationId="{83AD6573-AC84-43B6-8A60-CAEA7DB9D644}"/>
          </ac:spMkLst>
        </pc:spChg>
        <pc:spChg chg="del">
          <ac:chgData name="Bruno Hunkeler" userId="aa893333c5787da3" providerId="LiveId" clId="{7E79ACA8-943A-4A57-B885-0EB06BDD93E2}" dt="2021-01-14T14:09:28.562" v="3950" actId="478"/>
          <ac:spMkLst>
            <pc:docMk/>
            <pc:sldMk cId="1126710986" sldId="1089"/>
            <ac:spMk id="65" creationId="{98ACC7D3-B336-497E-825B-9A91ECF9E424}"/>
          </ac:spMkLst>
        </pc:spChg>
        <pc:spChg chg="del">
          <ac:chgData name="Bruno Hunkeler" userId="aa893333c5787da3" providerId="LiveId" clId="{7E79ACA8-943A-4A57-B885-0EB06BDD93E2}" dt="2021-01-14T14:09:28.562" v="3950" actId="478"/>
          <ac:spMkLst>
            <pc:docMk/>
            <pc:sldMk cId="1126710986" sldId="1089"/>
            <ac:spMk id="66" creationId="{2DD55245-201C-4DFE-B122-E5C60832EF72}"/>
          </ac:spMkLst>
        </pc:spChg>
        <pc:spChg chg="del">
          <ac:chgData name="Bruno Hunkeler" userId="aa893333c5787da3" providerId="LiveId" clId="{7E79ACA8-943A-4A57-B885-0EB06BDD93E2}" dt="2021-01-14T14:09:28.562" v="3950" actId="478"/>
          <ac:spMkLst>
            <pc:docMk/>
            <pc:sldMk cId="1126710986" sldId="1089"/>
            <ac:spMk id="72" creationId="{1BA002EE-428F-4EC5-8003-D8E76C0AAFD7}"/>
          </ac:spMkLst>
        </pc:spChg>
        <pc:spChg chg="del">
          <ac:chgData name="Bruno Hunkeler" userId="aa893333c5787da3" providerId="LiveId" clId="{7E79ACA8-943A-4A57-B885-0EB06BDD93E2}" dt="2021-01-14T14:09:28.562" v="3950" actId="478"/>
          <ac:spMkLst>
            <pc:docMk/>
            <pc:sldMk cId="1126710986" sldId="1089"/>
            <ac:spMk id="73" creationId="{759F116D-CA64-43AD-8235-91A96AC08E5A}"/>
          </ac:spMkLst>
        </pc:spChg>
        <pc:spChg chg="del">
          <ac:chgData name="Bruno Hunkeler" userId="aa893333c5787da3" providerId="LiveId" clId="{7E79ACA8-943A-4A57-B885-0EB06BDD93E2}" dt="2021-01-14T14:09:28.562" v="3950" actId="478"/>
          <ac:spMkLst>
            <pc:docMk/>
            <pc:sldMk cId="1126710986" sldId="1089"/>
            <ac:spMk id="74" creationId="{39F86A12-DEBE-425B-9660-9DA0F70FE758}"/>
          </ac:spMkLst>
        </pc:spChg>
        <pc:spChg chg="del">
          <ac:chgData name="Bruno Hunkeler" userId="aa893333c5787da3" providerId="LiveId" clId="{7E79ACA8-943A-4A57-B885-0EB06BDD93E2}" dt="2021-01-14T14:09:28.562" v="3950" actId="478"/>
          <ac:spMkLst>
            <pc:docMk/>
            <pc:sldMk cId="1126710986" sldId="1089"/>
            <ac:spMk id="75" creationId="{10D34442-574F-4E74-8736-EA542944F27F}"/>
          </ac:spMkLst>
        </pc:spChg>
        <pc:spChg chg="del">
          <ac:chgData name="Bruno Hunkeler" userId="aa893333c5787da3" providerId="LiveId" clId="{7E79ACA8-943A-4A57-B885-0EB06BDD93E2}" dt="2021-01-14T14:09:28.562" v="3950" actId="478"/>
          <ac:spMkLst>
            <pc:docMk/>
            <pc:sldMk cId="1126710986" sldId="1089"/>
            <ac:spMk id="77" creationId="{6CECEFB1-B22C-4C81-ACD3-1B5E9433333D}"/>
          </ac:spMkLst>
        </pc:spChg>
        <pc:spChg chg="del">
          <ac:chgData name="Bruno Hunkeler" userId="aa893333c5787da3" providerId="LiveId" clId="{7E79ACA8-943A-4A57-B885-0EB06BDD93E2}" dt="2021-01-14T14:09:28.562" v="3950" actId="478"/>
          <ac:spMkLst>
            <pc:docMk/>
            <pc:sldMk cId="1126710986" sldId="1089"/>
            <ac:spMk id="88" creationId="{2D6101DE-B280-4383-A5FE-93A9B0270244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90" creationId="{205CF8B1-BB9D-417D-8A1D-4B448BF9F2C8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91" creationId="{7E4DF238-3AFB-429B-88AA-8E54FD5B925D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92" creationId="{676DBDF2-33BE-4C16-8EE3-72B488EFB91C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93" creationId="{382FA17F-3A8F-4158-91BC-D80F69C9137F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96" creationId="{CBBD7970-97C7-481B-BF4B-08EF3D2BBFF1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97" creationId="{E2E7B973-677D-4FA8-A3F9-A28E62AFFED7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99" creationId="{2510046B-29BB-42C0-9AEB-2CD554CA4F3D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100" creationId="{A4A31E7A-CDFC-4802-8ECE-7D3C37B14479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102" creationId="{760743FE-0FEB-44C1-A9A1-90FCB746FF0E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107" creationId="{AA7D2CE0-DE38-45C1-B42F-BB994810132A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108" creationId="{1522F9DB-6F06-4ABC-9563-6E060560B2E4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109" creationId="{10F2C133-2573-464E-98AA-460B74B1A1C5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110" creationId="{17DC26B1-F859-415C-9FB8-33F3513D7737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113" creationId="{44A550A1-C563-4788-8AC9-7A3803036A08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114" creationId="{794F485B-1BB7-45C0-BF7E-DC5E630920C2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116" creationId="{C956EC66-3550-478C-8A5B-45CD5CF4FAEC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117" creationId="{F0399AA7-4C28-4F7F-B823-11661141CF1E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121" creationId="{2ECA2F0C-63DD-4D9E-A2BB-2FEFE9C3DEAD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122" creationId="{F95B0634-43B3-449F-B16D-3D55DFBE8793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125" creationId="{EE1C0B70-43DE-4921-B985-D537E062DC9A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128" creationId="{651B4386-0B62-4366-A5EE-6C9005536DE3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129" creationId="{A5716BC4-A797-42D9-B9B6-D48A2115A9E8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130" creationId="{71915738-091B-4354-A51A-6FADAB138AB4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135" creationId="{CDF76055-3FEE-4096-B36D-1C5251E7492B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137" creationId="{F4D9FB97-C518-4E96-9B50-57E532F0AAC3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139" creationId="{7FD8FE01-CA52-421B-BDCA-F4A836702836}"/>
          </ac:spMkLst>
        </pc:spChg>
        <pc:spChg chg="mod">
          <ac:chgData name="Bruno Hunkeler" userId="aa893333c5787da3" providerId="LiveId" clId="{7E79ACA8-943A-4A57-B885-0EB06BDD93E2}" dt="2021-01-14T14:09:31.938" v="3951"/>
          <ac:spMkLst>
            <pc:docMk/>
            <pc:sldMk cId="1126710986" sldId="1089"/>
            <ac:spMk id="141" creationId="{6CBF4928-4AE8-4B0E-B205-76DB6A9D51D1}"/>
          </ac:spMkLst>
        </pc:spChg>
        <pc:grpChg chg="del">
          <ac:chgData name="Bruno Hunkeler" userId="aa893333c5787da3" providerId="LiveId" clId="{7E79ACA8-943A-4A57-B885-0EB06BDD93E2}" dt="2021-01-14T14:09:28.562" v="3950" actId="478"/>
          <ac:grpSpMkLst>
            <pc:docMk/>
            <pc:sldMk cId="1126710986" sldId="1089"/>
            <ac:grpSpMk id="47" creationId="{F9CE8EA4-9B9C-4FB2-B003-70C79220F05A}"/>
          </ac:grpSpMkLst>
        </pc:grpChg>
        <pc:grpChg chg="del">
          <ac:chgData name="Bruno Hunkeler" userId="aa893333c5787da3" providerId="LiveId" clId="{7E79ACA8-943A-4A57-B885-0EB06BDD93E2}" dt="2021-01-14T14:09:28.562" v="3950" actId="478"/>
          <ac:grpSpMkLst>
            <pc:docMk/>
            <pc:sldMk cId="1126710986" sldId="1089"/>
            <ac:grpSpMk id="63" creationId="{0D9BE423-600B-4E62-8B74-7CC04E96814B}"/>
          </ac:grpSpMkLst>
        </pc:grpChg>
        <pc:grpChg chg="del">
          <ac:chgData name="Bruno Hunkeler" userId="aa893333c5787da3" providerId="LiveId" clId="{7E79ACA8-943A-4A57-B885-0EB06BDD93E2}" dt="2021-01-14T14:09:28.562" v="3950" actId="478"/>
          <ac:grpSpMkLst>
            <pc:docMk/>
            <pc:sldMk cId="1126710986" sldId="1089"/>
            <ac:grpSpMk id="67" creationId="{6D242DD3-8AC6-4A78-8BD0-1C69EC7618B5}"/>
          </ac:grpSpMkLst>
        </pc:grpChg>
        <pc:grpChg chg="del">
          <ac:chgData name="Bruno Hunkeler" userId="aa893333c5787da3" providerId="LiveId" clId="{7E79ACA8-943A-4A57-B885-0EB06BDD93E2}" dt="2021-01-14T14:09:28.562" v="3950" actId="478"/>
          <ac:grpSpMkLst>
            <pc:docMk/>
            <pc:sldMk cId="1126710986" sldId="1089"/>
            <ac:grpSpMk id="69" creationId="{F6F43DD4-003F-45FB-92EF-FFC39461030B}"/>
          </ac:grpSpMkLst>
        </pc:grpChg>
        <pc:grpChg chg="add mod">
          <ac:chgData name="Bruno Hunkeler" userId="aa893333c5787da3" providerId="LiveId" clId="{7E79ACA8-943A-4A57-B885-0EB06BDD93E2}" dt="2021-01-14T14:09:43.159" v="3953" actId="1076"/>
          <ac:grpSpMkLst>
            <pc:docMk/>
            <pc:sldMk cId="1126710986" sldId="1089"/>
            <ac:grpSpMk id="89" creationId="{FECB6C4E-2F24-49F1-8073-2112D1462D87}"/>
          </ac:grpSpMkLst>
        </pc:grpChg>
        <pc:grpChg chg="mod">
          <ac:chgData name="Bruno Hunkeler" userId="aa893333c5787da3" providerId="LiveId" clId="{7E79ACA8-943A-4A57-B885-0EB06BDD93E2}" dt="2021-01-14T14:09:31.938" v="3951"/>
          <ac:grpSpMkLst>
            <pc:docMk/>
            <pc:sldMk cId="1126710986" sldId="1089"/>
            <ac:grpSpMk id="94" creationId="{535EDD50-BB77-4398-BBDF-C92A825432AB}"/>
          </ac:grpSpMkLst>
        </pc:grpChg>
        <pc:grpChg chg="mod">
          <ac:chgData name="Bruno Hunkeler" userId="aa893333c5787da3" providerId="LiveId" clId="{7E79ACA8-943A-4A57-B885-0EB06BDD93E2}" dt="2021-01-14T14:09:31.938" v="3951"/>
          <ac:grpSpMkLst>
            <pc:docMk/>
            <pc:sldMk cId="1126710986" sldId="1089"/>
            <ac:grpSpMk id="101" creationId="{08C5A066-EFB7-4DED-9BFF-ECC6B6299B0B}"/>
          </ac:grpSpMkLst>
        </pc:grpChg>
        <pc:grpChg chg="mod">
          <ac:chgData name="Bruno Hunkeler" userId="aa893333c5787da3" providerId="LiveId" clId="{7E79ACA8-943A-4A57-B885-0EB06BDD93E2}" dt="2021-01-14T14:09:31.938" v="3951"/>
          <ac:grpSpMkLst>
            <pc:docMk/>
            <pc:sldMk cId="1126710986" sldId="1089"/>
            <ac:grpSpMk id="103" creationId="{9261368A-8BA9-4729-849A-946A1CDE9BBE}"/>
          </ac:grpSpMkLst>
        </pc:grpChg>
        <pc:grpChg chg="mod">
          <ac:chgData name="Bruno Hunkeler" userId="aa893333c5787da3" providerId="LiveId" clId="{7E79ACA8-943A-4A57-B885-0EB06BDD93E2}" dt="2021-01-14T14:09:31.938" v="3951"/>
          <ac:grpSpMkLst>
            <pc:docMk/>
            <pc:sldMk cId="1126710986" sldId="1089"/>
            <ac:grpSpMk id="105" creationId="{F0F6A08A-F004-47D4-A0E2-BB2A66DDA142}"/>
          </ac:grpSpMkLst>
        </pc:grpChg>
        <pc:picChg chg="mod">
          <ac:chgData name="Bruno Hunkeler" userId="aa893333c5787da3" providerId="LiveId" clId="{7E79ACA8-943A-4A57-B885-0EB06BDD93E2}" dt="2021-01-14T14:09:31.938" v="3951"/>
          <ac:picMkLst>
            <pc:docMk/>
            <pc:sldMk cId="1126710986" sldId="1089"/>
            <ac:picMk id="134" creationId="{BCE6C733-34E9-4171-A239-F1CEF7F45BAA}"/>
          </ac:picMkLst>
        </pc:picChg>
        <pc:picChg chg="mod">
          <ac:chgData name="Bruno Hunkeler" userId="aa893333c5787da3" providerId="LiveId" clId="{7E79ACA8-943A-4A57-B885-0EB06BDD93E2}" dt="2021-01-14T14:09:31.938" v="3951"/>
          <ac:picMkLst>
            <pc:docMk/>
            <pc:sldMk cId="1126710986" sldId="1089"/>
            <ac:picMk id="136" creationId="{9DC144CC-57B7-4291-80D9-C225DB25BB7D}"/>
          </ac:picMkLst>
        </pc:picChg>
        <pc:picChg chg="mod">
          <ac:chgData name="Bruno Hunkeler" userId="aa893333c5787da3" providerId="LiveId" clId="{7E79ACA8-943A-4A57-B885-0EB06BDD93E2}" dt="2021-01-14T14:09:31.938" v="3951"/>
          <ac:picMkLst>
            <pc:docMk/>
            <pc:sldMk cId="1126710986" sldId="1089"/>
            <ac:picMk id="138" creationId="{CB1840D6-9B49-41DA-993D-824E73E63095}"/>
          </ac:picMkLst>
        </pc:picChg>
        <pc:picChg chg="mod">
          <ac:chgData name="Bruno Hunkeler" userId="aa893333c5787da3" providerId="LiveId" clId="{7E79ACA8-943A-4A57-B885-0EB06BDD93E2}" dt="2021-01-14T14:09:31.938" v="3951"/>
          <ac:picMkLst>
            <pc:docMk/>
            <pc:sldMk cId="1126710986" sldId="1089"/>
            <ac:picMk id="140" creationId="{CDCBAB35-E9E4-4CBF-AC20-EE36E5073EFF}"/>
          </ac:picMkLst>
        </pc:picChg>
        <pc:cxnChg chg="del mod">
          <ac:chgData name="Bruno Hunkeler" userId="aa893333c5787da3" providerId="LiveId" clId="{7E79ACA8-943A-4A57-B885-0EB06BDD93E2}" dt="2021-01-14T14:09:28.562" v="3950" actId="478"/>
          <ac:cxnSpMkLst>
            <pc:docMk/>
            <pc:sldMk cId="1126710986" sldId="1089"/>
            <ac:cxnSpMk id="48" creationId="{A06D4CDB-F4FB-4B1D-86F5-2F48D0476DFB}"/>
          </ac:cxnSpMkLst>
        </pc:cxnChg>
        <pc:cxnChg chg="del mod">
          <ac:chgData name="Bruno Hunkeler" userId="aa893333c5787da3" providerId="LiveId" clId="{7E79ACA8-943A-4A57-B885-0EB06BDD93E2}" dt="2021-01-14T14:09:28.562" v="3950" actId="478"/>
          <ac:cxnSpMkLst>
            <pc:docMk/>
            <pc:sldMk cId="1126710986" sldId="1089"/>
            <ac:cxnSpMk id="53" creationId="{3EAB8F76-A3B0-4E76-995D-48A8F6C194A0}"/>
          </ac:cxnSpMkLst>
        </pc:cxnChg>
        <pc:cxnChg chg="del mod">
          <ac:chgData name="Bruno Hunkeler" userId="aa893333c5787da3" providerId="LiveId" clId="{7E79ACA8-943A-4A57-B885-0EB06BDD93E2}" dt="2021-01-14T14:09:28.562" v="3950" actId="478"/>
          <ac:cxnSpMkLst>
            <pc:docMk/>
            <pc:sldMk cId="1126710986" sldId="1089"/>
            <ac:cxnSpMk id="54" creationId="{AA8DDFF8-AB1D-4058-90CC-4FA3ED0AEF74}"/>
          </ac:cxnSpMkLst>
        </pc:cxnChg>
        <pc:cxnChg chg="del mod">
          <ac:chgData name="Bruno Hunkeler" userId="aa893333c5787da3" providerId="LiveId" clId="{7E79ACA8-943A-4A57-B885-0EB06BDD93E2}" dt="2021-01-14T14:09:28.562" v="3950" actId="478"/>
          <ac:cxnSpMkLst>
            <pc:docMk/>
            <pc:sldMk cId="1126710986" sldId="1089"/>
            <ac:cxnSpMk id="55" creationId="{8EB8B956-EFB4-432F-AD1E-5B79B435DB5D}"/>
          </ac:cxnSpMkLst>
        </pc:cxnChg>
        <pc:cxnChg chg="del mod">
          <ac:chgData name="Bruno Hunkeler" userId="aa893333c5787da3" providerId="LiveId" clId="{7E79ACA8-943A-4A57-B885-0EB06BDD93E2}" dt="2021-01-14T14:09:28.562" v="3950" actId="478"/>
          <ac:cxnSpMkLst>
            <pc:docMk/>
            <pc:sldMk cId="1126710986" sldId="1089"/>
            <ac:cxnSpMk id="61" creationId="{F2163870-D7FB-4F69-B0A7-D2D0FA53B4E4}"/>
          </ac:cxnSpMkLst>
        </pc:cxnChg>
        <pc:cxnChg chg="del mod">
          <ac:chgData name="Bruno Hunkeler" userId="aa893333c5787da3" providerId="LiveId" clId="{7E79ACA8-943A-4A57-B885-0EB06BDD93E2}" dt="2021-01-14T14:09:28.562" v="3950" actId="478"/>
          <ac:cxnSpMkLst>
            <pc:docMk/>
            <pc:sldMk cId="1126710986" sldId="1089"/>
            <ac:cxnSpMk id="62" creationId="{BC09C205-D42C-44D7-B335-E4C7B5A1CE80}"/>
          </ac:cxnSpMkLst>
        </pc:cxnChg>
        <pc:cxnChg chg="del mod">
          <ac:chgData name="Bruno Hunkeler" userId="aa893333c5787da3" providerId="LiveId" clId="{7E79ACA8-943A-4A57-B885-0EB06BDD93E2}" dt="2021-01-14T14:09:28.562" v="3950" actId="478"/>
          <ac:cxnSpMkLst>
            <pc:docMk/>
            <pc:sldMk cId="1126710986" sldId="1089"/>
            <ac:cxnSpMk id="68" creationId="{265D8F6D-6E2B-41CC-9879-0DA51428CD78}"/>
          </ac:cxnSpMkLst>
        </pc:cxnChg>
        <pc:cxnChg chg="del mod">
          <ac:chgData name="Bruno Hunkeler" userId="aa893333c5787da3" providerId="LiveId" clId="{7E79ACA8-943A-4A57-B885-0EB06BDD93E2}" dt="2021-01-14T14:09:28.562" v="3950" actId="478"/>
          <ac:cxnSpMkLst>
            <pc:docMk/>
            <pc:sldMk cId="1126710986" sldId="1089"/>
            <ac:cxnSpMk id="70" creationId="{9C53CB79-B057-4BC7-AC1C-E9F65D42708C}"/>
          </ac:cxnSpMkLst>
        </pc:cxnChg>
        <pc:cxnChg chg="del mod">
          <ac:chgData name="Bruno Hunkeler" userId="aa893333c5787da3" providerId="LiveId" clId="{7E79ACA8-943A-4A57-B885-0EB06BDD93E2}" dt="2021-01-14T14:09:28.562" v="3950" actId="478"/>
          <ac:cxnSpMkLst>
            <pc:docMk/>
            <pc:sldMk cId="1126710986" sldId="1089"/>
            <ac:cxnSpMk id="71" creationId="{13F64FE6-1A6E-4FE0-8B33-58FC8354A7AB}"/>
          </ac:cxnSpMkLst>
        </pc:cxnChg>
        <pc:cxnChg chg="del mod">
          <ac:chgData name="Bruno Hunkeler" userId="aa893333c5787da3" providerId="LiveId" clId="{7E79ACA8-943A-4A57-B885-0EB06BDD93E2}" dt="2021-01-14T14:09:28.562" v="3950" actId="478"/>
          <ac:cxnSpMkLst>
            <pc:docMk/>
            <pc:sldMk cId="1126710986" sldId="1089"/>
            <ac:cxnSpMk id="76" creationId="{D778163B-FA3E-4856-B283-D0769EFD94CE}"/>
          </ac:cxnSpMkLst>
        </pc:cxnChg>
        <pc:cxnChg chg="del mod">
          <ac:chgData name="Bruno Hunkeler" userId="aa893333c5787da3" providerId="LiveId" clId="{7E79ACA8-943A-4A57-B885-0EB06BDD93E2}" dt="2021-01-14T14:09:28.562" v="3950" actId="478"/>
          <ac:cxnSpMkLst>
            <pc:docMk/>
            <pc:sldMk cId="1126710986" sldId="1089"/>
            <ac:cxnSpMk id="78" creationId="{E1068795-8620-4B9B-854A-DDCEB999BB1F}"/>
          </ac:cxnSpMkLst>
        </pc:cxnChg>
        <pc:cxnChg chg="del mod">
          <ac:chgData name="Bruno Hunkeler" userId="aa893333c5787da3" providerId="LiveId" clId="{7E79ACA8-943A-4A57-B885-0EB06BDD93E2}" dt="2021-01-14T14:09:28.562" v="3950" actId="478"/>
          <ac:cxnSpMkLst>
            <pc:docMk/>
            <pc:sldMk cId="1126710986" sldId="1089"/>
            <ac:cxnSpMk id="79" creationId="{6F3D7929-945A-41CF-9E52-EA55408D0410}"/>
          </ac:cxnSpMkLst>
        </pc:cxnChg>
        <pc:cxnChg chg="mod">
          <ac:chgData name="Bruno Hunkeler" userId="aa893333c5787da3" providerId="LiveId" clId="{7E79ACA8-943A-4A57-B885-0EB06BDD93E2}" dt="2021-01-14T14:09:31.938" v="3951"/>
          <ac:cxnSpMkLst>
            <pc:docMk/>
            <pc:sldMk cId="1126710986" sldId="1089"/>
            <ac:cxnSpMk id="95" creationId="{138812A4-5590-403D-B397-337281120D78}"/>
          </ac:cxnSpMkLst>
        </pc:cxnChg>
        <pc:cxnChg chg="mod">
          <ac:chgData name="Bruno Hunkeler" userId="aa893333c5787da3" providerId="LiveId" clId="{7E79ACA8-943A-4A57-B885-0EB06BDD93E2}" dt="2021-01-14T14:09:31.938" v="3951"/>
          <ac:cxnSpMkLst>
            <pc:docMk/>
            <pc:sldMk cId="1126710986" sldId="1089"/>
            <ac:cxnSpMk id="98" creationId="{95B295F1-553A-4E60-8077-29DEC3702523}"/>
          </ac:cxnSpMkLst>
        </pc:cxnChg>
        <pc:cxnChg chg="mod">
          <ac:chgData name="Bruno Hunkeler" userId="aa893333c5787da3" providerId="LiveId" clId="{7E79ACA8-943A-4A57-B885-0EB06BDD93E2}" dt="2021-01-14T14:09:31.938" v="3951"/>
          <ac:cxnSpMkLst>
            <pc:docMk/>
            <pc:sldMk cId="1126710986" sldId="1089"/>
            <ac:cxnSpMk id="104" creationId="{E4BE462E-2BE3-43DA-A1B6-3EF561BA138D}"/>
          </ac:cxnSpMkLst>
        </pc:cxnChg>
        <pc:cxnChg chg="mod">
          <ac:chgData name="Bruno Hunkeler" userId="aa893333c5787da3" providerId="LiveId" clId="{7E79ACA8-943A-4A57-B885-0EB06BDD93E2}" dt="2021-01-14T14:09:31.938" v="3951"/>
          <ac:cxnSpMkLst>
            <pc:docMk/>
            <pc:sldMk cId="1126710986" sldId="1089"/>
            <ac:cxnSpMk id="106" creationId="{082BC80A-C3FB-44ED-91B2-18D996E0D496}"/>
          </ac:cxnSpMkLst>
        </pc:cxnChg>
        <pc:cxnChg chg="mod">
          <ac:chgData name="Bruno Hunkeler" userId="aa893333c5787da3" providerId="LiveId" clId="{7E79ACA8-943A-4A57-B885-0EB06BDD93E2}" dt="2021-01-14T14:09:31.938" v="3951"/>
          <ac:cxnSpMkLst>
            <pc:docMk/>
            <pc:sldMk cId="1126710986" sldId="1089"/>
            <ac:cxnSpMk id="111" creationId="{BDA7E489-1284-4907-8C4F-9E576049050E}"/>
          </ac:cxnSpMkLst>
        </pc:cxnChg>
        <pc:cxnChg chg="mod">
          <ac:chgData name="Bruno Hunkeler" userId="aa893333c5787da3" providerId="LiveId" clId="{7E79ACA8-943A-4A57-B885-0EB06BDD93E2}" dt="2021-01-14T14:09:31.938" v="3951"/>
          <ac:cxnSpMkLst>
            <pc:docMk/>
            <pc:sldMk cId="1126710986" sldId="1089"/>
            <ac:cxnSpMk id="112" creationId="{12D95124-1743-4C76-BBCE-DB51C9BF40B5}"/>
          </ac:cxnSpMkLst>
        </pc:cxnChg>
        <pc:cxnChg chg="mod">
          <ac:chgData name="Bruno Hunkeler" userId="aa893333c5787da3" providerId="LiveId" clId="{7E79ACA8-943A-4A57-B885-0EB06BDD93E2}" dt="2021-01-14T14:09:31.938" v="3951"/>
          <ac:cxnSpMkLst>
            <pc:docMk/>
            <pc:sldMk cId="1126710986" sldId="1089"/>
            <ac:cxnSpMk id="115" creationId="{C3AF00DB-6FDA-4A87-B847-FE0CFE0AD929}"/>
          </ac:cxnSpMkLst>
        </pc:cxnChg>
        <pc:cxnChg chg="mod">
          <ac:chgData name="Bruno Hunkeler" userId="aa893333c5787da3" providerId="LiveId" clId="{7E79ACA8-943A-4A57-B885-0EB06BDD93E2}" dt="2021-01-14T14:09:31.938" v="3951"/>
          <ac:cxnSpMkLst>
            <pc:docMk/>
            <pc:sldMk cId="1126710986" sldId="1089"/>
            <ac:cxnSpMk id="118" creationId="{F57F3B19-12CF-493A-848A-5FD8462BC27A}"/>
          </ac:cxnSpMkLst>
        </pc:cxnChg>
        <pc:cxnChg chg="mod">
          <ac:chgData name="Bruno Hunkeler" userId="aa893333c5787da3" providerId="LiveId" clId="{7E79ACA8-943A-4A57-B885-0EB06BDD93E2}" dt="2021-01-14T14:09:31.938" v="3951"/>
          <ac:cxnSpMkLst>
            <pc:docMk/>
            <pc:sldMk cId="1126710986" sldId="1089"/>
            <ac:cxnSpMk id="119" creationId="{EE32DDDE-8619-4242-BD2F-27FCBD0273F5}"/>
          </ac:cxnSpMkLst>
        </pc:cxnChg>
        <pc:cxnChg chg="mod">
          <ac:chgData name="Bruno Hunkeler" userId="aa893333c5787da3" providerId="LiveId" clId="{7E79ACA8-943A-4A57-B885-0EB06BDD93E2}" dt="2021-01-14T14:09:31.938" v="3951"/>
          <ac:cxnSpMkLst>
            <pc:docMk/>
            <pc:sldMk cId="1126710986" sldId="1089"/>
            <ac:cxnSpMk id="120" creationId="{A36B13EB-7D7E-4244-A0B1-39C3FA3966D2}"/>
          </ac:cxnSpMkLst>
        </pc:cxnChg>
        <pc:cxnChg chg="mod">
          <ac:chgData name="Bruno Hunkeler" userId="aa893333c5787da3" providerId="LiveId" clId="{7E79ACA8-943A-4A57-B885-0EB06BDD93E2}" dt="2021-01-14T14:09:31.938" v="3951"/>
          <ac:cxnSpMkLst>
            <pc:docMk/>
            <pc:sldMk cId="1126710986" sldId="1089"/>
            <ac:cxnSpMk id="123" creationId="{FAA6003C-CAF0-4B47-B045-FA39E3B30C6C}"/>
          </ac:cxnSpMkLst>
        </pc:cxnChg>
        <pc:cxnChg chg="mod">
          <ac:chgData name="Bruno Hunkeler" userId="aa893333c5787da3" providerId="LiveId" clId="{7E79ACA8-943A-4A57-B885-0EB06BDD93E2}" dt="2021-01-14T14:09:31.938" v="3951"/>
          <ac:cxnSpMkLst>
            <pc:docMk/>
            <pc:sldMk cId="1126710986" sldId="1089"/>
            <ac:cxnSpMk id="124" creationId="{8CF03AE5-020B-4290-93F5-C0F56C45FB2A}"/>
          </ac:cxnSpMkLst>
        </pc:cxnChg>
        <pc:cxnChg chg="mod">
          <ac:chgData name="Bruno Hunkeler" userId="aa893333c5787da3" providerId="LiveId" clId="{7E79ACA8-943A-4A57-B885-0EB06BDD93E2}" dt="2021-01-14T14:09:31.938" v="3951"/>
          <ac:cxnSpMkLst>
            <pc:docMk/>
            <pc:sldMk cId="1126710986" sldId="1089"/>
            <ac:cxnSpMk id="126" creationId="{68A7C080-C4DF-41D6-8966-D90BBFFC3D82}"/>
          </ac:cxnSpMkLst>
        </pc:cxnChg>
        <pc:cxnChg chg="mod">
          <ac:chgData name="Bruno Hunkeler" userId="aa893333c5787da3" providerId="LiveId" clId="{7E79ACA8-943A-4A57-B885-0EB06BDD93E2}" dt="2021-01-14T14:09:31.938" v="3951"/>
          <ac:cxnSpMkLst>
            <pc:docMk/>
            <pc:sldMk cId="1126710986" sldId="1089"/>
            <ac:cxnSpMk id="127" creationId="{23CF257D-AF0B-49BB-91A2-0A42197D89E8}"/>
          </ac:cxnSpMkLst>
        </pc:cxnChg>
        <pc:cxnChg chg="mod">
          <ac:chgData name="Bruno Hunkeler" userId="aa893333c5787da3" providerId="LiveId" clId="{7E79ACA8-943A-4A57-B885-0EB06BDD93E2}" dt="2021-01-14T14:09:31.938" v="3951"/>
          <ac:cxnSpMkLst>
            <pc:docMk/>
            <pc:sldMk cId="1126710986" sldId="1089"/>
            <ac:cxnSpMk id="131" creationId="{E3B5DFC3-3B60-4FC6-9BD7-F8CC7051FE8B}"/>
          </ac:cxnSpMkLst>
        </pc:cxnChg>
        <pc:cxnChg chg="mod">
          <ac:chgData name="Bruno Hunkeler" userId="aa893333c5787da3" providerId="LiveId" clId="{7E79ACA8-943A-4A57-B885-0EB06BDD93E2}" dt="2021-01-14T14:09:31.938" v="3951"/>
          <ac:cxnSpMkLst>
            <pc:docMk/>
            <pc:sldMk cId="1126710986" sldId="1089"/>
            <ac:cxnSpMk id="132" creationId="{7AF69034-EF84-4D7B-89D4-63C214F4FFCC}"/>
          </ac:cxnSpMkLst>
        </pc:cxnChg>
        <pc:cxnChg chg="mod">
          <ac:chgData name="Bruno Hunkeler" userId="aa893333c5787da3" providerId="LiveId" clId="{7E79ACA8-943A-4A57-B885-0EB06BDD93E2}" dt="2021-01-14T14:09:31.938" v="3951"/>
          <ac:cxnSpMkLst>
            <pc:docMk/>
            <pc:sldMk cId="1126710986" sldId="1089"/>
            <ac:cxnSpMk id="133" creationId="{6DBA52C0-030D-46A2-B767-E6D9A905C1E3}"/>
          </ac:cxnSpMkLst>
        </pc:cxnChg>
      </pc:sldChg>
      <pc:sldChg chg="addSp delSp modSp add del mod ord">
        <pc:chgData name="Bruno Hunkeler" userId="aa893333c5787da3" providerId="LiveId" clId="{7E79ACA8-943A-4A57-B885-0EB06BDD93E2}" dt="2021-01-14T14:07:11.388" v="3929" actId="47"/>
        <pc:sldMkLst>
          <pc:docMk/>
          <pc:sldMk cId="2379698130" sldId="1090"/>
        </pc:sldMkLst>
        <pc:spChg chg="mod or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3" creationId="{35116C3E-AD48-4156-885C-45C85B8293B7}"/>
          </ac:spMkLst>
        </pc:spChg>
        <pc:spChg chg="mo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43" creationId="{EE9684B7-45D7-4802-80A2-7BDB5AB88A0A}"/>
          </ac:spMkLst>
        </pc:spChg>
        <pc:spChg chg="mo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44" creationId="{4CACBBE6-A57D-4403-8CD1-BA5C35F11BB8}"/>
          </ac:spMkLst>
        </pc:spChg>
        <pc:spChg chg="mo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45" creationId="{54B1D08B-4B8E-4A8A-AC3D-DDEBA64D98C7}"/>
          </ac:spMkLst>
        </pc:spChg>
        <pc:spChg chg="mo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46" creationId="{43661ADE-68E2-4154-B9F9-1CFE5ED263DE}"/>
          </ac:spMkLst>
        </pc:spChg>
        <pc:spChg chg="mod or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49" creationId="{2F700A0F-E937-438A-9582-E0CFD41E8A8A}"/>
          </ac:spMkLst>
        </pc:spChg>
        <pc:spChg chg="mod or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50" creationId="{2892E386-E64D-49AE-992E-23929B45BB51}"/>
          </ac:spMkLst>
        </pc:spChg>
        <pc:spChg chg="mod or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51" creationId="{E13DEDE7-C967-459C-A124-55C69EE64F00}"/>
          </ac:spMkLst>
        </pc:spChg>
        <pc:spChg chg="mod or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52" creationId="{844098C7-A495-4EBD-9C63-2E2718C36F09}"/>
          </ac:spMkLst>
        </pc:spChg>
        <pc:spChg chg="mod or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56" creationId="{7752AFCA-2F50-4178-A19D-2B7FFCA94200}"/>
          </ac:spMkLst>
        </pc:spChg>
        <pc:spChg chg="mod or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57" creationId="{B8FE2995-EE58-4053-A904-FD9ABEE56DC4}"/>
          </ac:spMkLst>
        </pc:spChg>
        <pc:spChg chg="mo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58" creationId="{A105A95C-2498-40B9-91BD-4E17A7A40902}"/>
          </ac:spMkLst>
        </pc:spChg>
        <pc:spChg chg="mo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59" creationId="{71FE699D-1DB4-4296-85AE-1877EF55090E}"/>
          </ac:spMkLst>
        </pc:spChg>
        <pc:spChg chg="mod or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60" creationId="{04A3A990-0BBE-4E76-BA43-C14DD7FBD423}"/>
          </ac:spMkLst>
        </pc:spChg>
        <pc:spChg chg="mod or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64" creationId="{83AD6573-AC84-43B6-8A60-CAEA7DB9D644}"/>
          </ac:spMkLst>
        </pc:spChg>
        <pc:spChg chg="mo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65" creationId="{98ACC7D3-B336-497E-825B-9A91ECF9E424}"/>
          </ac:spMkLst>
        </pc:spChg>
        <pc:spChg chg="mo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66" creationId="{2DD55245-201C-4DFE-B122-E5C60832EF72}"/>
          </ac:spMkLst>
        </pc:spChg>
        <pc:spChg chg="mo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72" creationId="{1BA002EE-428F-4EC5-8003-D8E76C0AAFD7}"/>
          </ac:spMkLst>
        </pc:spChg>
        <pc:spChg chg="mo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73" creationId="{759F116D-CA64-43AD-8235-91A96AC08E5A}"/>
          </ac:spMkLst>
        </pc:spChg>
        <pc:spChg chg="mo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74" creationId="{39F86A12-DEBE-425B-9660-9DA0F70FE758}"/>
          </ac:spMkLst>
        </pc:spChg>
        <pc:spChg chg="mo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75" creationId="{10D34442-574F-4E74-8736-EA542944F27F}"/>
          </ac:spMkLst>
        </pc:spChg>
        <pc:spChg chg="mo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77" creationId="{6CECEFB1-B22C-4C81-ACD3-1B5E9433333D}"/>
          </ac:spMkLst>
        </pc:spChg>
        <pc:spChg chg="mo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88" creationId="{2D6101DE-B280-4383-A5FE-93A9B0270244}"/>
          </ac:spMkLst>
        </pc:spChg>
        <pc:spChg chg="add del mod">
          <ac:chgData name="Bruno Hunkeler" userId="aa893333c5787da3" providerId="LiveId" clId="{7E79ACA8-943A-4A57-B885-0EB06BDD93E2}" dt="2021-01-12T19:30:46.930" v="2115" actId="478"/>
          <ac:spMkLst>
            <pc:docMk/>
            <pc:sldMk cId="2379698130" sldId="1090"/>
            <ac:spMk id="89" creationId="{61FA74D5-16D6-40C3-8A9D-10D418C80565}"/>
          </ac:spMkLst>
        </pc:spChg>
        <pc:spChg chg="add mod">
          <ac:chgData name="Bruno Hunkeler" userId="aa893333c5787da3" providerId="LiveId" clId="{7E79ACA8-943A-4A57-B885-0EB06BDD93E2}" dt="2021-01-12T20:06:09.519" v="2172" actId="164"/>
          <ac:spMkLst>
            <pc:docMk/>
            <pc:sldMk cId="2379698130" sldId="1090"/>
            <ac:spMk id="90" creationId="{C48186A5-512F-48CD-B8FF-5B0820D79F38}"/>
          </ac:spMkLst>
        </pc:spChg>
        <pc:spChg chg="add del mod">
          <ac:chgData name="Bruno Hunkeler" userId="aa893333c5787da3" providerId="LiveId" clId="{7E79ACA8-943A-4A57-B885-0EB06BDD93E2}" dt="2021-01-12T20:05:17.959" v="2170" actId="478"/>
          <ac:spMkLst>
            <pc:docMk/>
            <pc:sldMk cId="2379698130" sldId="1090"/>
            <ac:spMk id="91" creationId="{D575DEA9-D688-46DA-B2CF-73A957806FDA}"/>
          </ac:spMkLst>
        </pc:spChg>
        <pc:grpChg chg="add mod">
          <ac:chgData name="Bruno Hunkeler" userId="aa893333c5787da3" providerId="LiveId" clId="{7E79ACA8-943A-4A57-B885-0EB06BDD93E2}" dt="2021-01-12T20:06:09.519" v="2172" actId="164"/>
          <ac:grpSpMkLst>
            <pc:docMk/>
            <pc:sldMk cId="2379698130" sldId="1090"/>
            <ac:grpSpMk id="2" creationId="{588A476A-4CCF-4AF4-9EBE-797EBF9C8950}"/>
          </ac:grpSpMkLst>
        </pc:grpChg>
        <pc:grpChg chg="mod ord">
          <ac:chgData name="Bruno Hunkeler" userId="aa893333c5787da3" providerId="LiveId" clId="{7E79ACA8-943A-4A57-B885-0EB06BDD93E2}" dt="2021-01-12T20:06:09.519" v="2172" actId="164"/>
          <ac:grpSpMkLst>
            <pc:docMk/>
            <pc:sldMk cId="2379698130" sldId="1090"/>
            <ac:grpSpMk id="47" creationId="{F9CE8EA4-9B9C-4FB2-B003-70C79220F05A}"/>
          </ac:grpSpMkLst>
        </pc:grpChg>
        <pc:grpChg chg="mod ord">
          <ac:chgData name="Bruno Hunkeler" userId="aa893333c5787da3" providerId="LiveId" clId="{7E79ACA8-943A-4A57-B885-0EB06BDD93E2}" dt="2021-01-12T20:06:09.519" v="2172" actId="164"/>
          <ac:grpSpMkLst>
            <pc:docMk/>
            <pc:sldMk cId="2379698130" sldId="1090"/>
            <ac:grpSpMk id="63" creationId="{0D9BE423-600B-4E62-8B74-7CC04E96814B}"/>
          </ac:grpSpMkLst>
        </pc:grpChg>
        <pc:grpChg chg="mod">
          <ac:chgData name="Bruno Hunkeler" userId="aa893333c5787da3" providerId="LiveId" clId="{7E79ACA8-943A-4A57-B885-0EB06BDD93E2}" dt="2021-01-12T20:06:09.519" v="2172" actId="164"/>
          <ac:grpSpMkLst>
            <pc:docMk/>
            <pc:sldMk cId="2379698130" sldId="1090"/>
            <ac:grpSpMk id="67" creationId="{6D242DD3-8AC6-4A78-8BD0-1C69EC7618B5}"/>
          </ac:grpSpMkLst>
        </pc:grpChg>
        <pc:grpChg chg="mod">
          <ac:chgData name="Bruno Hunkeler" userId="aa893333c5787da3" providerId="LiveId" clId="{7E79ACA8-943A-4A57-B885-0EB06BDD93E2}" dt="2021-01-12T20:06:09.519" v="2172" actId="164"/>
          <ac:grpSpMkLst>
            <pc:docMk/>
            <pc:sldMk cId="2379698130" sldId="1090"/>
            <ac:grpSpMk id="69" creationId="{F6F43DD4-003F-45FB-92EF-FFC39461030B}"/>
          </ac:grpSpMkLst>
        </pc:grpChg>
        <pc:cxnChg chg="mod ord">
          <ac:chgData name="Bruno Hunkeler" userId="aa893333c5787da3" providerId="LiveId" clId="{7E79ACA8-943A-4A57-B885-0EB06BDD93E2}" dt="2021-01-12T20:06:09.519" v="2172" actId="164"/>
          <ac:cxnSpMkLst>
            <pc:docMk/>
            <pc:sldMk cId="2379698130" sldId="1090"/>
            <ac:cxnSpMk id="48" creationId="{A06D4CDB-F4FB-4B1D-86F5-2F48D0476DFB}"/>
          </ac:cxnSpMkLst>
        </pc:cxnChg>
        <pc:cxnChg chg="mod">
          <ac:chgData name="Bruno Hunkeler" userId="aa893333c5787da3" providerId="LiveId" clId="{7E79ACA8-943A-4A57-B885-0EB06BDD93E2}" dt="2021-01-12T20:06:09.519" v="2172" actId="164"/>
          <ac:cxnSpMkLst>
            <pc:docMk/>
            <pc:sldMk cId="2379698130" sldId="1090"/>
            <ac:cxnSpMk id="53" creationId="{3EAB8F76-A3B0-4E76-995D-48A8F6C194A0}"/>
          </ac:cxnSpMkLst>
        </pc:cxnChg>
        <pc:cxnChg chg="mod ord">
          <ac:chgData name="Bruno Hunkeler" userId="aa893333c5787da3" providerId="LiveId" clId="{7E79ACA8-943A-4A57-B885-0EB06BDD93E2}" dt="2021-01-12T20:06:09.519" v="2172" actId="164"/>
          <ac:cxnSpMkLst>
            <pc:docMk/>
            <pc:sldMk cId="2379698130" sldId="1090"/>
            <ac:cxnSpMk id="54" creationId="{AA8DDFF8-AB1D-4058-90CC-4FA3ED0AEF74}"/>
          </ac:cxnSpMkLst>
        </pc:cxnChg>
        <pc:cxnChg chg="mod">
          <ac:chgData name="Bruno Hunkeler" userId="aa893333c5787da3" providerId="LiveId" clId="{7E79ACA8-943A-4A57-B885-0EB06BDD93E2}" dt="2021-01-12T20:06:09.519" v="2172" actId="164"/>
          <ac:cxnSpMkLst>
            <pc:docMk/>
            <pc:sldMk cId="2379698130" sldId="1090"/>
            <ac:cxnSpMk id="55" creationId="{8EB8B956-EFB4-432F-AD1E-5B79B435DB5D}"/>
          </ac:cxnSpMkLst>
        </pc:cxnChg>
        <pc:cxnChg chg="mod ord">
          <ac:chgData name="Bruno Hunkeler" userId="aa893333c5787da3" providerId="LiveId" clId="{7E79ACA8-943A-4A57-B885-0EB06BDD93E2}" dt="2021-01-12T20:06:09.519" v="2172" actId="164"/>
          <ac:cxnSpMkLst>
            <pc:docMk/>
            <pc:sldMk cId="2379698130" sldId="1090"/>
            <ac:cxnSpMk id="61" creationId="{F2163870-D7FB-4F69-B0A7-D2D0FA53B4E4}"/>
          </ac:cxnSpMkLst>
        </pc:cxnChg>
        <pc:cxnChg chg="mod ord">
          <ac:chgData name="Bruno Hunkeler" userId="aa893333c5787da3" providerId="LiveId" clId="{7E79ACA8-943A-4A57-B885-0EB06BDD93E2}" dt="2021-01-12T20:06:09.519" v="2172" actId="164"/>
          <ac:cxnSpMkLst>
            <pc:docMk/>
            <pc:sldMk cId="2379698130" sldId="1090"/>
            <ac:cxnSpMk id="62" creationId="{BC09C205-D42C-44D7-B335-E4C7B5A1CE80}"/>
          </ac:cxnSpMkLst>
        </pc:cxnChg>
        <pc:cxnChg chg="mod">
          <ac:chgData name="Bruno Hunkeler" userId="aa893333c5787da3" providerId="LiveId" clId="{7E79ACA8-943A-4A57-B885-0EB06BDD93E2}" dt="2021-01-12T20:06:09.519" v="2172" actId="164"/>
          <ac:cxnSpMkLst>
            <pc:docMk/>
            <pc:sldMk cId="2379698130" sldId="1090"/>
            <ac:cxnSpMk id="68" creationId="{265D8F6D-6E2B-41CC-9879-0DA51428CD78}"/>
          </ac:cxnSpMkLst>
        </pc:cxnChg>
        <pc:cxnChg chg="mod">
          <ac:chgData name="Bruno Hunkeler" userId="aa893333c5787da3" providerId="LiveId" clId="{7E79ACA8-943A-4A57-B885-0EB06BDD93E2}" dt="2021-01-12T20:06:09.519" v="2172" actId="164"/>
          <ac:cxnSpMkLst>
            <pc:docMk/>
            <pc:sldMk cId="2379698130" sldId="1090"/>
            <ac:cxnSpMk id="70" creationId="{9C53CB79-B057-4BC7-AC1C-E9F65D42708C}"/>
          </ac:cxnSpMkLst>
        </pc:cxnChg>
        <pc:cxnChg chg="mod">
          <ac:chgData name="Bruno Hunkeler" userId="aa893333c5787da3" providerId="LiveId" clId="{7E79ACA8-943A-4A57-B885-0EB06BDD93E2}" dt="2021-01-12T20:06:09.519" v="2172" actId="164"/>
          <ac:cxnSpMkLst>
            <pc:docMk/>
            <pc:sldMk cId="2379698130" sldId="1090"/>
            <ac:cxnSpMk id="71" creationId="{13F64FE6-1A6E-4FE0-8B33-58FC8354A7AB}"/>
          </ac:cxnSpMkLst>
        </pc:cxnChg>
        <pc:cxnChg chg="mod">
          <ac:chgData name="Bruno Hunkeler" userId="aa893333c5787da3" providerId="LiveId" clId="{7E79ACA8-943A-4A57-B885-0EB06BDD93E2}" dt="2021-01-12T20:06:09.519" v="2172" actId="164"/>
          <ac:cxnSpMkLst>
            <pc:docMk/>
            <pc:sldMk cId="2379698130" sldId="1090"/>
            <ac:cxnSpMk id="76" creationId="{D778163B-FA3E-4856-B283-D0769EFD94CE}"/>
          </ac:cxnSpMkLst>
        </pc:cxnChg>
        <pc:cxnChg chg="mod">
          <ac:chgData name="Bruno Hunkeler" userId="aa893333c5787da3" providerId="LiveId" clId="{7E79ACA8-943A-4A57-B885-0EB06BDD93E2}" dt="2021-01-12T20:06:09.519" v="2172" actId="164"/>
          <ac:cxnSpMkLst>
            <pc:docMk/>
            <pc:sldMk cId="2379698130" sldId="1090"/>
            <ac:cxnSpMk id="78" creationId="{E1068795-8620-4B9B-854A-DDCEB999BB1F}"/>
          </ac:cxnSpMkLst>
        </pc:cxnChg>
        <pc:cxnChg chg="mod">
          <ac:chgData name="Bruno Hunkeler" userId="aa893333c5787da3" providerId="LiveId" clId="{7E79ACA8-943A-4A57-B885-0EB06BDD93E2}" dt="2021-01-12T20:06:09.519" v="2172" actId="164"/>
          <ac:cxnSpMkLst>
            <pc:docMk/>
            <pc:sldMk cId="2379698130" sldId="1090"/>
            <ac:cxnSpMk id="79" creationId="{6F3D7929-945A-41CF-9E52-EA55408D0410}"/>
          </ac:cxnSpMkLst>
        </pc:cxnChg>
      </pc:sldChg>
      <pc:sldChg chg="addSp delSp modSp add mod">
        <pc:chgData name="Bruno Hunkeler" userId="aa893333c5787da3" providerId="LiveId" clId="{7E79ACA8-943A-4A57-B885-0EB06BDD93E2}" dt="2021-01-14T09:56:17.645" v="3070" actId="692"/>
        <pc:sldMkLst>
          <pc:docMk/>
          <pc:sldMk cId="133750735" sldId="1091"/>
        </pc:sldMkLst>
        <pc:spChg chg="mod topLvl">
          <ac:chgData name="Bruno Hunkeler" userId="aa893333c5787da3" providerId="LiveId" clId="{7E79ACA8-943A-4A57-B885-0EB06BDD93E2}" dt="2021-01-14T09:55:29.043" v="3064" actId="164"/>
          <ac:spMkLst>
            <pc:docMk/>
            <pc:sldMk cId="133750735" sldId="1091"/>
            <ac:spMk id="30" creationId="{AC3AE51B-4FBF-4552-AA20-E638E7FA1772}"/>
          </ac:spMkLst>
        </pc:spChg>
        <pc:spChg chg="mod topLvl">
          <ac:chgData name="Bruno Hunkeler" userId="aa893333c5787da3" providerId="LiveId" clId="{7E79ACA8-943A-4A57-B885-0EB06BDD93E2}" dt="2021-01-14T09:55:52.101" v="3066" actId="692"/>
          <ac:spMkLst>
            <pc:docMk/>
            <pc:sldMk cId="133750735" sldId="1091"/>
            <ac:spMk id="31" creationId="{2F9F6430-C6A3-41D8-A605-A111468A4537}"/>
          </ac:spMkLst>
        </pc:spChg>
        <pc:spChg chg="mod topLvl">
          <ac:chgData name="Bruno Hunkeler" userId="aa893333c5787da3" providerId="LiveId" clId="{7E79ACA8-943A-4A57-B885-0EB06BDD93E2}" dt="2021-01-14T09:55:42.357" v="3065" actId="692"/>
          <ac:spMkLst>
            <pc:docMk/>
            <pc:sldMk cId="133750735" sldId="1091"/>
            <ac:spMk id="32" creationId="{4B603732-BD29-4B70-9EE4-65312A7243B8}"/>
          </ac:spMkLst>
        </pc:spChg>
        <pc:spChg chg="mod topLvl">
          <ac:chgData name="Bruno Hunkeler" userId="aa893333c5787da3" providerId="LiveId" clId="{7E79ACA8-943A-4A57-B885-0EB06BDD93E2}" dt="2021-01-14T09:55:29.043" v="3064" actId="164"/>
          <ac:spMkLst>
            <pc:docMk/>
            <pc:sldMk cId="133750735" sldId="1091"/>
            <ac:spMk id="33" creationId="{C52C4A0F-C1A2-47DA-8742-8A20C62D21A3}"/>
          </ac:spMkLst>
        </pc:spChg>
        <pc:spChg chg="mod topLvl">
          <ac:chgData name="Bruno Hunkeler" userId="aa893333c5787da3" providerId="LiveId" clId="{7E79ACA8-943A-4A57-B885-0EB06BDD93E2}" dt="2021-01-14T09:55:29.043" v="3064" actId="164"/>
          <ac:spMkLst>
            <pc:docMk/>
            <pc:sldMk cId="133750735" sldId="1091"/>
            <ac:spMk id="37" creationId="{8BEEF263-B2CE-4A3A-937E-AA27FFAD33C7}"/>
          </ac:spMkLst>
        </pc:spChg>
        <pc:spChg chg="mod topLvl">
          <ac:chgData name="Bruno Hunkeler" userId="aa893333c5787da3" providerId="LiveId" clId="{7E79ACA8-943A-4A57-B885-0EB06BDD93E2}" dt="2021-01-14T09:55:29.043" v="3064" actId="164"/>
          <ac:spMkLst>
            <pc:docMk/>
            <pc:sldMk cId="133750735" sldId="1091"/>
            <ac:spMk id="38" creationId="{83C98139-68F2-4382-B1C0-D9BC4534E429}"/>
          </ac:spMkLst>
        </pc:spChg>
        <pc:spChg chg="del mod topLvl">
          <ac:chgData name="Bruno Hunkeler" userId="aa893333c5787da3" providerId="LiveId" clId="{7E79ACA8-943A-4A57-B885-0EB06BDD93E2}" dt="2021-01-14T09:17:12.717" v="2560" actId="478"/>
          <ac:spMkLst>
            <pc:docMk/>
            <pc:sldMk cId="133750735" sldId="1091"/>
            <ac:spMk id="39" creationId="{3FC93B16-1FAE-469B-B435-A8BD23B7AD78}"/>
          </ac:spMkLst>
        </pc:spChg>
        <pc:spChg chg="del mod topLvl">
          <ac:chgData name="Bruno Hunkeler" userId="aa893333c5787da3" providerId="LiveId" clId="{7E79ACA8-943A-4A57-B885-0EB06BDD93E2}" dt="2021-01-14T09:17:42.268" v="2564" actId="478"/>
          <ac:spMkLst>
            <pc:docMk/>
            <pc:sldMk cId="133750735" sldId="1091"/>
            <ac:spMk id="40" creationId="{D31F23AC-2AD9-43BA-8884-682BCC50EFF8}"/>
          </ac:spMkLst>
        </pc:spChg>
        <pc:spChg chg="mod topLvl">
          <ac:chgData name="Bruno Hunkeler" userId="aa893333c5787da3" providerId="LiveId" clId="{7E79ACA8-943A-4A57-B885-0EB06BDD93E2}" dt="2021-01-14T09:55:29.043" v="3064" actId="164"/>
          <ac:spMkLst>
            <pc:docMk/>
            <pc:sldMk cId="133750735" sldId="1091"/>
            <ac:spMk id="48" creationId="{CC64E003-BF4D-4492-986C-F11AE389C35D}"/>
          </ac:spMkLst>
        </pc:spChg>
        <pc:spChg chg="mod topLvl">
          <ac:chgData name="Bruno Hunkeler" userId="aa893333c5787da3" providerId="LiveId" clId="{7E79ACA8-943A-4A57-B885-0EB06BDD93E2}" dt="2021-01-14T09:55:29.043" v="3064" actId="164"/>
          <ac:spMkLst>
            <pc:docMk/>
            <pc:sldMk cId="133750735" sldId="1091"/>
            <ac:spMk id="49" creationId="{5F7F1B50-C9E6-42C2-84E5-EABE569CCF3F}"/>
          </ac:spMkLst>
        </pc:spChg>
        <pc:spChg chg="mod ord topLvl">
          <ac:chgData name="Bruno Hunkeler" userId="aa893333c5787da3" providerId="LiveId" clId="{7E79ACA8-943A-4A57-B885-0EB06BDD93E2}" dt="2021-01-14T09:55:29.043" v="3064" actId="164"/>
          <ac:spMkLst>
            <pc:docMk/>
            <pc:sldMk cId="133750735" sldId="1091"/>
            <ac:spMk id="50" creationId="{4AE66C56-6F33-40CC-BD9D-A0938E58822A}"/>
          </ac:spMkLst>
        </pc:spChg>
        <pc:spChg chg="add del mod topLvl">
          <ac:chgData name="Bruno Hunkeler" userId="aa893333c5787da3" providerId="LiveId" clId="{7E79ACA8-943A-4A57-B885-0EB06BDD93E2}" dt="2021-01-14T09:55:14.417" v="3062" actId="478"/>
          <ac:spMkLst>
            <pc:docMk/>
            <pc:sldMk cId="133750735" sldId="1091"/>
            <ac:spMk id="51" creationId="{60340C6E-C952-40AF-B081-91277D8935A8}"/>
          </ac:spMkLst>
        </pc:spChg>
        <pc:spChg chg="mod">
          <ac:chgData name="Bruno Hunkeler" userId="aa893333c5787da3" providerId="LiveId" clId="{7E79ACA8-943A-4A57-B885-0EB06BDD93E2}" dt="2021-01-14T09:55:06.094" v="3061" actId="338"/>
          <ac:spMkLst>
            <pc:docMk/>
            <pc:sldMk cId="133750735" sldId="1091"/>
            <ac:spMk id="53" creationId="{541462D8-01A1-4B13-8B29-A1E8B41181D3}"/>
          </ac:spMkLst>
        </pc:spChg>
        <pc:spChg chg="add mod">
          <ac:chgData name="Bruno Hunkeler" userId="aa893333c5787da3" providerId="LiveId" clId="{7E79ACA8-943A-4A57-B885-0EB06BDD93E2}" dt="2021-01-14T09:56:04.820" v="3068" actId="692"/>
          <ac:spMkLst>
            <pc:docMk/>
            <pc:sldMk cId="133750735" sldId="1091"/>
            <ac:spMk id="54" creationId="{44530178-2989-43ED-8CC0-42F84C85694B}"/>
          </ac:spMkLst>
        </pc:spChg>
        <pc:spChg chg="mod ord topLvl">
          <ac:chgData name="Bruno Hunkeler" userId="aa893333c5787da3" providerId="LiveId" clId="{7E79ACA8-943A-4A57-B885-0EB06BDD93E2}" dt="2021-01-14T09:55:29.043" v="3064" actId="164"/>
          <ac:spMkLst>
            <pc:docMk/>
            <pc:sldMk cId="133750735" sldId="1091"/>
            <ac:spMk id="56" creationId="{282EA6F6-7F9E-460A-8CAB-C1AF1BB13A64}"/>
          </ac:spMkLst>
        </pc:spChg>
        <pc:spChg chg="mod">
          <ac:chgData name="Bruno Hunkeler" userId="aa893333c5787da3" providerId="LiveId" clId="{7E79ACA8-943A-4A57-B885-0EB06BDD93E2}" dt="2021-01-14T09:55:06.094" v="3061" actId="338"/>
          <ac:spMkLst>
            <pc:docMk/>
            <pc:sldMk cId="133750735" sldId="1091"/>
            <ac:spMk id="61" creationId="{EE37D09E-ABFA-4792-B8C3-2575FC293596}"/>
          </ac:spMkLst>
        </pc:spChg>
        <pc:spChg chg="mod ord topLvl">
          <ac:chgData name="Bruno Hunkeler" userId="aa893333c5787da3" providerId="LiveId" clId="{7E79ACA8-943A-4A57-B885-0EB06BDD93E2}" dt="2021-01-14T09:55:29.043" v="3064" actId="164"/>
          <ac:spMkLst>
            <pc:docMk/>
            <pc:sldMk cId="133750735" sldId="1091"/>
            <ac:spMk id="62" creationId="{C209E82F-1047-4779-ABBA-1C2982209BC2}"/>
          </ac:spMkLst>
        </pc:spChg>
        <pc:spChg chg="mod ord topLvl">
          <ac:chgData name="Bruno Hunkeler" userId="aa893333c5787da3" providerId="LiveId" clId="{7E79ACA8-943A-4A57-B885-0EB06BDD93E2}" dt="2021-01-14T09:55:29.043" v="3064" actId="164"/>
          <ac:spMkLst>
            <pc:docMk/>
            <pc:sldMk cId="133750735" sldId="1091"/>
            <ac:spMk id="63" creationId="{1DBB10AF-970C-4B43-85C7-C95FA7AEFA69}"/>
          </ac:spMkLst>
        </pc:spChg>
        <pc:spChg chg="mod topLvl">
          <ac:chgData name="Bruno Hunkeler" userId="aa893333c5787da3" providerId="LiveId" clId="{7E79ACA8-943A-4A57-B885-0EB06BDD93E2}" dt="2021-01-14T09:55:57.923" v="3067" actId="692"/>
          <ac:spMkLst>
            <pc:docMk/>
            <pc:sldMk cId="133750735" sldId="1091"/>
            <ac:spMk id="64" creationId="{2443DB29-6E06-4303-ADBF-5E5EF66DE6A3}"/>
          </ac:spMkLst>
        </pc:spChg>
        <pc:spChg chg="mod">
          <ac:chgData name="Bruno Hunkeler" userId="aa893333c5787da3" providerId="LiveId" clId="{7E79ACA8-943A-4A57-B885-0EB06BDD93E2}" dt="2021-01-14T09:55:06.094" v="3061" actId="338"/>
          <ac:spMkLst>
            <pc:docMk/>
            <pc:sldMk cId="133750735" sldId="1091"/>
            <ac:spMk id="67" creationId="{636CFF45-8086-4525-BEF6-5087C4DE104D}"/>
          </ac:spMkLst>
        </pc:spChg>
        <pc:spChg chg="add mod">
          <ac:chgData name="Bruno Hunkeler" userId="aa893333c5787da3" providerId="LiveId" clId="{7E79ACA8-943A-4A57-B885-0EB06BDD93E2}" dt="2021-01-14T09:55:29.043" v="3064" actId="164"/>
          <ac:spMkLst>
            <pc:docMk/>
            <pc:sldMk cId="133750735" sldId="1091"/>
            <ac:spMk id="69" creationId="{3E0156F9-857F-4B3F-90CE-BCBAADF91623}"/>
          </ac:spMkLst>
        </pc:spChg>
        <pc:spChg chg="add mod">
          <ac:chgData name="Bruno Hunkeler" userId="aa893333c5787da3" providerId="LiveId" clId="{7E79ACA8-943A-4A57-B885-0EB06BDD93E2}" dt="2021-01-14T09:55:29.043" v="3064" actId="164"/>
          <ac:spMkLst>
            <pc:docMk/>
            <pc:sldMk cId="133750735" sldId="1091"/>
            <ac:spMk id="70" creationId="{DBDCCC73-333F-4BC1-A52A-C16B0BB0A8BC}"/>
          </ac:spMkLst>
        </pc:spChg>
        <pc:spChg chg="mod">
          <ac:chgData name="Bruno Hunkeler" userId="aa893333c5787da3" providerId="LiveId" clId="{7E79ACA8-943A-4A57-B885-0EB06BDD93E2}" dt="2021-01-14T09:55:06.094" v="3061" actId="338"/>
          <ac:spMkLst>
            <pc:docMk/>
            <pc:sldMk cId="133750735" sldId="1091"/>
            <ac:spMk id="73" creationId="{2CDED979-644D-40C6-9A4D-F39EA83C3975}"/>
          </ac:spMkLst>
        </pc:spChg>
        <pc:spChg chg="add del mod topLvl">
          <ac:chgData name="Bruno Hunkeler" userId="aa893333c5787da3" providerId="LiveId" clId="{7E79ACA8-943A-4A57-B885-0EB06BDD93E2}" dt="2021-01-14T09:55:17.912" v="3063" actId="478"/>
          <ac:spMkLst>
            <pc:docMk/>
            <pc:sldMk cId="133750735" sldId="1091"/>
            <ac:spMk id="74" creationId="{1FA11B8B-29EA-456F-8D99-3A4A9C341D6D}"/>
          </ac:spMkLst>
        </pc:spChg>
        <pc:spChg chg="mod topLvl">
          <ac:chgData name="Bruno Hunkeler" userId="aa893333c5787da3" providerId="LiveId" clId="{7E79ACA8-943A-4A57-B885-0EB06BDD93E2}" dt="2021-01-14T09:55:29.043" v="3064" actId="164"/>
          <ac:spMkLst>
            <pc:docMk/>
            <pc:sldMk cId="133750735" sldId="1091"/>
            <ac:spMk id="75" creationId="{1C595E47-9CF0-4FEE-A421-1E478AC8D9DB}"/>
          </ac:spMkLst>
        </pc:spChg>
        <pc:spChg chg="mod topLvl">
          <ac:chgData name="Bruno Hunkeler" userId="aa893333c5787da3" providerId="LiveId" clId="{7E79ACA8-943A-4A57-B885-0EB06BDD93E2}" dt="2021-01-14T09:55:29.043" v="3064" actId="164"/>
          <ac:spMkLst>
            <pc:docMk/>
            <pc:sldMk cId="133750735" sldId="1091"/>
            <ac:spMk id="76" creationId="{81775D60-3A98-4316-87A5-A9EBF60B00DB}"/>
          </ac:spMkLst>
        </pc:spChg>
        <pc:spChg chg="mod topLvl">
          <ac:chgData name="Bruno Hunkeler" userId="aa893333c5787da3" providerId="LiveId" clId="{7E79ACA8-943A-4A57-B885-0EB06BDD93E2}" dt="2021-01-14T09:55:29.043" v="3064" actId="164"/>
          <ac:spMkLst>
            <pc:docMk/>
            <pc:sldMk cId="133750735" sldId="1091"/>
            <ac:spMk id="77" creationId="{4CEFE013-6C92-4660-8F85-0B9C4F8C3A64}"/>
          </ac:spMkLst>
        </pc:spChg>
        <pc:spChg chg="add mod">
          <ac:chgData name="Bruno Hunkeler" userId="aa893333c5787da3" providerId="LiveId" clId="{7E79ACA8-943A-4A57-B885-0EB06BDD93E2}" dt="2021-01-14T09:56:17.645" v="3070" actId="692"/>
          <ac:spMkLst>
            <pc:docMk/>
            <pc:sldMk cId="133750735" sldId="1091"/>
            <ac:spMk id="79" creationId="{22FF66D6-9984-43AC-9D05-C1EC883CD3F4}"/>
          </ac:spMkLst>
        </pc:spChg>
        <pc:spChg chg="add mod">
          <ac:chgData name="Bruno Hunkeler" userId="aa893333c5787da3" providerId="LiveId" clId="{7E79ACA8-943A-4A57-B885-0EB06BDD93E2}" dt="2021-01-14T09:55:29.043" v="3064" actId="164"/>
          <ac:spMkLst>
            <pc:docMk/>
            <pc:sldMk cId="133750735" sldId="1091"/>
            <ac:spMk id="87" creationId="{18C7B0D7-F1A5-4BF7-BB95-C4BE5A9D3B0C}"/>
          </ac:spMkLst>
        </pc:spChg>
        <pc:spChg chg="mod topLvl">
          <ac:chgData name="Bruno Hunkeler" userId="aa893333c5787da3" providerId="LiveId" clId="{7E79ACA8-943A-4A57-B885-0EB06BDD93E2}" dt="2021-01-14T09:55:29.043" v="3064" actId="164"/>
          <ac:spMkLst>
            <pc:docMk/>
            <pc:sldMk cId="133750735" sldId="1091"/>
            <ac:spMk id="88" creationId="{113E720B-80EB-4844-9712-4D79931275C1}"/>
          </ac:spMkLst>
        </pc:spChg>
        <pc:spChg chg="add del mod">
          <ac:chgData name="Bruno Hunkeler" userId="aa893333c5787da3" providerId="LiveId" clId="{7E79ACA8-943A-4A57-B885-0EB06BDD93E2}" dt="2021-01-14T09:40:46.107" v="2934" actId="478"/>
          <ac:spMkLst>
            <pc:docMk/>
            <pc:sldMk cId="133750735" sldId="1091"/>
            <ac:spMk id="90" creationId="{EB1C0AB5-7F64-4217-B006-814D4A88E9E4}"/>
          </ac:spMkLst>
        </pc:spChg>
        <pc:spChg chg="add mod">
          <ac:chgData name="Bruno Hunkeler" userId="aa893333c5787da3" providerId="LiveId" clId="{7E79ACA8-943A-4A57-B885-0EB06BDD93E2}" dt="2021-01-14T09:56:09.412" v="3069" actId="692"/>
          <ac:spMkLst>
            <pc:docMk/>
            <pc:sldMk cId="133750735" sldId="1091"/>
            <ac:spMk id="96" creationId="{2D10B620-B956-414A-861D-09225D6B1A47}"/>
          </ac:spMkLst>
        </pc:spChg>
        <pc:grpChg chg="del">
          <ac:chgData name="Bruno Hunkeler" userId="aa893333c5787da3" providerId="LiveId" clId="{7E79ACA8-943A-4A57-B885-0EB06BDD93E2}" dt="2021-01-14T09:04:39.382" v="2499" actId="165"/>
          <ac:grpSpMkLst>
            <pc:docMk/>
            <pc:sldMk cId="133750735" sldId="1091"/>
            <ac:grpSpMk id="3" creationId="{7477A1CA-F1A6-4408-81F2-324B3DFA9400}"/>
          </ac:grpSpMkLst>
        </pc:grpChg>
        <pc:grpChg chg="mod topLvl">
          <ac:chgData name="Bruno Hunkeler" userId="aa893333c5787da3" providerId="LiveId" clId="{7E79ACA8-943A-4A57-B885-0EB06BDD93E2}" dt="2021-01-14T09:55:29.043" v="3064" actId="164"/>
          <ac:grpSpMkLst>
            <pc:docMk/>
            <pc:sldMk cId="133750735" sldId="1091"/>
            <ac:grpSpMk id="35" creationId="{DA3F7157-2D9D-4A39-A39C-D58CE677302A}"/>
          </ac:grpSpMkLst>
        </pc:grpChg>
        <pc:grpChg chg="mod topLvl">
          <ac:chgData name="Bruno Hunkeler" userId="aa893333c5787da3" providerId="LiveId" clId="{7E79ACA8-943A-4A57-B885-0EB06BDD93E2}" dt="2021-01-14T09:55:29.043" v="3064" actId="164"/>
          <ac:grpSpMkLst>
            <pc:docMk/>
            <pc:sldMk cId="133750735" sldId="1091"/>
            <ac:grpSpMk id="57" creationId="{2EF66B59-4290-4617-8C03-D6FFF2D69E34}"/>
          </ac:grpSpMkLst>
        </pc:grpChg>
        <pc:grpChg chg="mod topLvl">
          <ac:chgData name="Bruno Hunkeler" userId="aa893333c5787da3" providerId="LiveId" clId="{7E79ACA8-943A-4A57-B885-0EB06BDD93E2}" dt="2021-01-14T09:55:29.043" v="3064" actId="164"/>
          <ac:grpSpMkLst>
            <pc:docMk/>
            <pc:sldMk cId="133750735" sldId="1091"/>
            <ac:grpSpMk id="65" creationId="{1F1763B1-29F8-4061-AEC8-884BFF41775C}"/>
          </ac:grpSpMkLst>
        </pc:grpChg>
        <pc:grpChg chg="mod topLvl">
          <ac:chgData name="Bruno Hunkeler" userId="aa893333c5787da3" providerId="LiveId" clId="{7E79ACA8-943A-4A57-B885-0EB06BDD93E2}" dt="2021-01-14T09:55:29.043" v="3064" actId="164"/>
          <ac:grpSpMkLst>
            <pc:docMk/>
            <pc:sldMk cId="133750735" sldId="1091"/>
            <ac:grpSpMk id="71" creationId="{37049FCD-F244-4B3C-AA89-A21238BE564B}"/>
          </ac:grpSpMkLst>
        </pc:grpChg>
        <pc:grpChg chg="add mod">
          <ac:chgData name="Bruno Hunkeler" userId="aa893333c5787da3" providerId="LiveId" clId="{7E79ACA8-943A-4A57-B885-0EB06BDD93E2}" dt="2021-01-14T09:55:06.094" v="3061" actId="338"/>
          <ac:grpSpMkLst>
            <pc:docMk/>
            <pc:sldMk cId="133750735" sldId="1091"/>
            <ac:grpSpMk id="101" creationId="{30B0CB14-7A68-4C2E-807C-2048F03611FA}"/>
          </ac:grpSpMkLst>
        </pc:grpChg>
        <pc:grpChg chg="add mod">
          <ac:chgData name="Bruno Hunkeler" userId="aa893333c5787da3" providerId="LiveId" clId="{7E79ACA8-943A-4A57-B885-0EB06BDD93E2}" dt="2021-01-14T09:55:02.159" v="3058" actId="164"/>
          <ac:grpSpMkLst>
            <pc:docMk/>
            <pc:sldMk cId="133750735" sldId="1091"/>
            <ac:grpSpMk id="102" creationId="{DC2BC5E9-DCF8-4620-8450-C6362C9E1FC7}"/>
          </ac:grpSpMkLst>
        </pc:grpChg>
        <pc:grpChg chg="add mod">
          <ac:chgData name="Bruno Hunkeler" userId="aa893333c5787da3" providerId="LiveId" clId="{7E79ACA8-943A-4A57-B885-0EB06BDD93E2}" dt="2021-01-14T09:55:29.043" v="3064" actId="164"/>
          <ac:grpSpMkLst>
            <pc:docMk/>
            <pc:sldMk cId="133750735" sldId="1091"/>
            <ac:grpSpMk id="103" creationId="{B077BCEE-1ACF-48EA-AD5D-462A27E89780}"/>
          </ac:grpSpMkLst>
        </pc:grpChg>
        <pc:picChg chg="mod">
          <ac:chgData name="Bruno Hunkeler" userId="aa893333c5787da3" providerId="LiveId" clId="{7E79ACA8-943A-4A57-B885-0EB06BDD93E2}" dt="2021-01-14T09:55:06.094" v="3061" actId="338"/>
          <ac:picMkLst>
            <pc:docMk/>
            <pc:sldMk cId="133750735" sldId="1091"/>
            <ac:picMk id="52" creationId="{FA0B0BB1-8782-4157-88B2-52573968FC5A}"/>
          </ac:picMkLst>
        </pc:picChg>
        <pc:picChg chg="mod">
          <ac:chgData name="Bruno Hunkeler" userId="aa893333c5787da3" providerId="LiveId" clId="{7E79ACA8-943A-4A57-B885-0EB06BDD93E2}" dt="2021-01-14T09:55:06.094" v="3061" actId="338"/>
          <ac:picMkLst>
            <pc:docMk/>
            <pc:sldMk cId="133750735" sldId="1091"/>
            <ac:picMk id="60" creationId="{184BED0C-8F5A-4DB5-8AC9-731B8D576F60}"/>
          </ac:picMkLst>
        </pc:picChg>
        <pc:picChg chg="mod">
          <ac:chgData name="Bruno Hunkeler" userId="aa893333c5787da3" providerId="LiveId" clId="{7E79ACA8-943A-4A57-B885-0EB06BDD93E2}" dt="2021-01-14T09:55:06.094" v="3061" actId="338"/>
          <ac:picMkLst>
            <pc:docMk/>
            <pc:sldMk cId="133750735" sldId="1091"/>
            <ac:picMk id="66" creationId="{8F7DCF30-13CC-4C94-B342-49540DFD6A40}"/>
          </ac:picMkLst>
        </pc:picChg>
        <pc:picChg chg="mod">
          <ac:chgData name="Bruno Hunkeler" userId="aa893333c5787da3" providerId="LiveId" clId="{7E79ACA8-943A-4A57-B885-0EB06BDD93E2}" dt="2021-01-14T09:55:06.094" v="3061" actId="338"/>
          <ac:picMkLst>
            <pc:docMk/>
            <pc:sldMk cId="133750735" sldId="1091"/>
            <ac:picMk id="72" creationId="{782A2117-0BF8-417F-A2B4-1F613B7FEB0D}"/>
          </ac:picMkLst>
        </pc:picChg>
        <pc:cxnChg chg="del mod topLvl">
          <ac:chgData name="Bruno Hunkeler" userId="aa893333c5787da3" providerId="LiveId" clId="{7E79ACA8-943A-4A57-B885-0EB06BDD93E2}" dt="2021-01-14T09:23:12.562" v="2787" actId="478"/>
          <ac:cxnSpMkLst>
            <pc:docMk/>
            <pc:sldMk cId="133750735" sldId="1091"/>
            <ac:cxnSpMk id="6" creationId="{A8B74912-5F7E-48B3-A204-DC20C7C66A4B}"/>
          </ac:cxnSpMkLst>
        </pc:cxnChg>
        <pc:cxnChg chg="add del mod">
          <ac:chgData name="Bruno Hunkeler" userId="aa893333c5787da3" providerId="LiveId" clId="{7E79ACA8-943A-4A57-B885-0EB06BDD93E2}" dt="2021-01-14T09:18:34.634" v="2590" actId="478"/>
          <ac:cxnSpMkLst>
            <pc:docMk/>
            <pc:sldMk cId="133750735" sldId="1091"/>
            <ac:cxnSpMk id="12" creationId="{7E1928A5-F556-49BC-BD94-6A4CFE1E785E}"/>
          </ac:cxnSpMkLst>
        </pc:cxnChg>
        <pc:cxnChg chg="add mod">
          <ac:chgData name="Bruno Hunkeler" userId="aa893333c5787da3" providerId="LiveId" clId="{7E79ACA8-943A-4A57-B885-0EB06BDD93E2}" dt="2021-01-14T09:55:29.043" v="3064" actId="164"/>
          <ac:cxnSpMkLst>
            <pc:docMk/>
            <pc:sldMk cId="133750735" sldId="1091"/>
            <ac:cxnSpMk id="16" creationId="{CA7E01E0-11AB-492A-A611-0A1C4DAD54E6}"/>
          </ac:cxnSpMkLst>
        </pc:cxnChg>
        <pc:cxnChg chg="add del mod">
          <ac:chgData name="Bruno Hunkeler" userId="aa893333c5787da3" providerId="LiveId" clId="{7E79ACA8-943A-4A57-B885-0EB06BDD93E2}" dt="2021-01-14T09:16:01.166" v="2552" actId="478"/>
          <ac:cxnSpMkLst>
            <pc:docMk/>
            <pc:sldMk cId="133750735" sldId="1091"/>
            <ac:cxnSpMk id="18" creationId="{A172495A-0447-4FA2-A82E-532FBAA0D7E6}"/>
          </ac:cxnSpMkLst>
        </pc:cxnChg>
        <pc:cxnChg chg="add mod">
          <ac:chgData name="Bruno Hunkeler" userId="aa893333c5787da3" providerId="LiveId" clId="{7E79ACA8-943A-4A57-B885-0EB06BDD93E2}" dt="2021-01-14T09:55:29.043" v="3064" actId="164"/>
          <ac:cxnSpMkLst>
            <pc:docMk/>
            <pc:sldMk cId="133750735" sldId="1091"/>
            <ac:cxnSpMk id="20" creationId="{A74466F8-38EC-430C-8A88-A2DB79BC9726}"/>
          </ac:cxnSpMkLst>
        </pc:cxnChg>
        <pc:cxnChg chg="add mod">
          <ac:chgData name="Bruno Hunkeler" userId="aa893333c5787da3" providerId="LiveId" clId="{7E79ACA8-943A-4A57-B885-0EB06BDD93E2}" dt="2021-01-14T09:55:29.043" v="3064" actId="164"/>
          <ac:cxnSpMkLst>
            <pc:docMk/>
            <pc:sldMk cId="133750735" sldId="1091"/>
            <ac:cxnSpMk id="26" creationId="{49D69969-B7D8-4D7E-80F4-ADCFD7DDF7A0}"/>
          </ac:cxnSpMkLst>
        </pc:cxnChg>
        <pc:cxnChg chg="mod topLvl">
          <ac:chgData name="Bruno Hunkeler" userId="aa893333c5787da3" providerId="LiveId" clId="{7E79ACA8-943A-4A57-B885-0EB06BDD93E2}" dt="2021-01-14T09:55:29.043" v="3064" actId="164"/>
          <ac:cxnSpMkLst>
            <pc:docMk/>
            <pc:sldMk cId="133750735" sldId="1091"/>
            <ac:cxnSpMk id="36" creationId="{35081949-6001-4983-9DFE-DD27D2B674BE}"/>
          </ac:cxnSpMkLst>
        </pc:cxnChg>
        <pc:cxnChg chg="mod topLvl">
          <ac:chgData name="Bruno Hunkeler" userId="aa893333c5787da3" providerId="LiveId" clId="{7E79ACA8-943A-4A57-B885-0EB06BDD93E2}" dt="2021-01-14T09:55:29.043" v="3064" actId="164"/>
          <ac:cxnSpMkLst>
            <pc:docMk/>
            <pc:sldMk cId="133750735" sldId="1091"/>
            <ac:cxnSpMk id="41" creationId="{C2F9171E-6E9B-4100-B58B-B2EBC900FBF6}"/>
          </ac:cxnSpMkLst>
        </pc:cxnChg>
        <pc:cxnChg chg="mod topLvl">
          <ac:chgData name="Bruno Hunkeler" userId="aa893333c5787da3" providerId="LiveId" clId="{7E79ACA8-943A-4A57-B885-0EB06BDD93E2}" dt="2021-01-14T09:55:29.043" v="3064" actId="164"/>
          <ac:cxnSpMkLst>
            <pc:docMk/>
            <pc:sldMk cId="133750735" sldId="1091"/>
            <ac:cxnSpMk id="42" creationId="{47169235-38F1-439A-87FB-A35ABD564994}"/>
          </ac:cxnSpMkLst>
        </pc:cxnChg>
        <pc:cxnChg chg="mod ord topLvl">
          <ac:chgData name="Bruno Hunkeler" userId="aa893333c5787da3" providerId="LiveId" clId="{7E79ACA8-943A-4A57-B885-0EB06BDD93E2}" dt="2021-01-14T09:55:29.043" v="3064" actId="164"/>
          <ac:cxnSpMkLst>
            <pc:docMk/>
            <pc:sldMk cId="133750735" sldId="1091"/>
            <ac:cxnSpMk id="44" creationId="{CF64FA6B-3E16-43E1-9A13-7B1D218D7E13}"/>
          </ac:cxnSpMkLst>
        </pc:cxnChg>
        <pc:cxnChg chg="mod ord topLvl">
          <ac:chgData name="Bruno Hunkeler" userId="aa893333c5787da3" providerId="LiveId" clId="{7E79ACA8-943A-4A57-B885-0EB06BDD93E2}" dt="2021-01-14T09:55:29.043" v="3064" actId="164"/>
          <ac:cxnSpMkLst>
            <pc:docMk/>
            <pc:sldMk cId="133750735" sldId="1091"/>
            <ac:cxnSpMk id="46" creationId="{A796D7C1-8D51-4B3D-A96E-CC8E86D242BC}"/>
          </ac:cxnSpMkLst>
        </pc:cxnChg>
        <pc:cxnChg chg="mod ord topLvl">
          <ac:chgData name="Bruno Hunkeler" userId="aa893333c5787da3" providerId="LiveId" clId="{7E79ACA8-943A-4A57-B885-0EB06BDD93E2}" dt="2021-01-14T09:55:29.043" v="3064" actId="164"/>
          <ac:cxnSpMkLst>
            <pc:docMk/>
            <pc:sldMk cId="133750735" sldId="1091"/>
            <ac:cxnSpMk id="47" creationId="{D7B763C1-04E8-4BAA-9F62-07E63F3FBB15}"/>
          </ac:cxnSpMkLst>
        </pc:cxnChg>
        <pc:cxnChg chg="del mod topLvl">
          <ac:chgData name="Bruno Hunkeler" userId="aa893333c5787da3" providerId="LiveId" clId="{7E79ACA8-943A-4A57-B885-0EB06BDD93E2}" dt="2021-01-14T09:17:22.918" v="2562" actId="478"/>
          <ac:cxnSpMkLst>
            <pc:docMk/>
            <pc:sldMk cId="133750735" sldId="1091"/>
            <ac:cxnSpMk id="58" creationId="{9E60B67F-F6AE-457E-9641-4EC5EF2A2526}"/>
          </ac:cxnSpMkLst>
        </pc:cxnChg>
        <pc:cxnChg chg="mod topLvl">
          <ac:chgData name="Bruno Hunkeler" userId="aa893333c5787da3" providerId="LiveId" clId="{7E79ACA8-943A-4A57-B885-0EB06BDD93E2}" dt="2021-01-14T09:55:29.043" v="3064" actId="164"/>
          <ac:cxnSpMkLst>
            <pc:docMk/>
            <pc:sldMk cId="133750735" sldId="1091"/>
            <ac:cxnSpMk id="68" creationId="{35DEB4B4-9E6D-4792-8804-270C37B4E15D}"/>
          </ac:cxnSpMkLst>
        </pc:cxnChg>
        <pc:cxnChg chg="add mod">
          <ac:chgData name="Bruno Hunkeler" userId="aa893333c5787da3" providerId="LiveId" clId="{7E79ACA8-943A-4A57-B885-0EB06BDD93E2}" dt="2021-01-14T09:55:29.043" v="3064" actId="164"/>
          <ac:cxnSpMkLst>
            <pc:docMk/>
            <pc:sldMk cId="133750735" sldId="1091"/>
            <ac:cxnSpMk id="80" creationId="{450A3BAA-0150-40BC-8195-9D789A2D342E}"/>
          </ac:cxnSpMkLst>
        </pc:cxnChg>
        <pc:cxnChg chg="add mod">
          <ac:chgData name="Bruno Hunkeler" userId="aa893333c5787da3" providerId="LiveId" clId="{7E79ACA8-943A-4A57-B885-0EB06BDD93E2}" dt="2021-01-14T09:55:29.043" v="3064" actId="164"/>
          <ac:cxnSpMkLst>
            <pc:docMk/>
            <pc:sldMk cId="133750735" sldId="1091"/>
            <ac:cxnSpMk id="83" creationId="{7778C65A-5B95-4734-ABE5-CF36C0EADC42}"/>
          </ac:cxnSpMkLst>
        </pc:cxnChg>
        <pc:cxnChg chg="add mod">
          <ac:chgData name="Bruno Hunkeler" userId="aa893333c5787da3" providerId="LiveId" clId="{7E79ACA8-943A-4A57-B885-0EB06BDD93E2}" dt="2021-01-14T09:55:29.043" v="3064" actId="164"/>
          <ac:cxnSpMkLst>
            <pc:docMk/>
            <pc:sldMk cId="133750735" sldId="1091"/>
            <ac:cxnSpMk id="84" creationId="{B5AA862D-1A37-49B1-BA2A-B9F47E444171}"/>
          </ac:cxnSpMkLst>
        </pc:cxnChg>
        <pc:cxnChg chg="del mod topLvl">
          <ac:chgData name="Bruno Hunkeler" userId="aa893333c5787da3" providerId="LiveId" clId="{7E79ACA8-943A-4A57-B885-0EB06BDD93E2}" dt="2021-01-14T09:18:07.169" v="2567" actId="478"/>
          <ac:cxnSpMkLst>
            <pc:docMk/>
            <pc:sldMk cId="133750735" sldId="1091"/>
            <ac:cxnSpMk id="85" creationId="{DB42B8EF-C19A-44F8-9D18-7231DB3FEE41}"/>
          </ac:cxnSpMkLst>
        </pc:cxnChg>
        <pc:cxnChg chg="mod topLvl">
          <ac:chgData name="Bruno Hunkeler" userId="aa893333c5787da3" providerId="LiveId" clId="{7E79ACA8-943A-4A57-B885-0EB06BDD93E2}" dt="2021-01-14T09:55:29.043" v="3064" actId="164"/>
          <ac:cxnSpMkLst>
            <pc:docMk/>
            <pc:sldMk cId="133750735" sldId="1091"/>
            <ac:cxnSpMk id="89" creationId="{AA05739B-A194-4AB1-96FA-D70C9FF2606D}"/>
          </ac:cxnSpMkLst>
        </pc:cxnChg>
        <pc:cxnChg chg="add mod">
          <ac:chgData name="Bruno Hunkeler" userId="aa893333c5787da3" providerId="LiveId" clId="{7E79ACA8-943A-4A57-B885-0EB06BDD93E2}" dt="2021-01-14T09:55:29.043" v="3064" actId="164"/>
          <ac:cxnSpMkLst>
            <pc:docMk/>
            <pc:sldMk cId="133750735" sldId="1091"/>
            <ac:cxnSpMk id="92" creationId="{73523DBD-EE0B-4EB5-9DC1-590426C681C3}"/>
          </ac:cxnSpMkLst>
        </pc:cxnChg>
        <pc:cxnChg chg="mod topLvl">
          <ac:chgData name="Bruno Hunkeler" userId="aa893333c5787da3" providerId="LiveId" clId="{7E79ACA8-943A-4A57-B885-0EB06BDD93E2}" dt="2021-01-14T09:55:29.043" v="3064" actId="164"/>
          <ac:cxnSpMkLst>
            <pc:docMk/>
            <pc:sldMk cId="133750735" sldId="1091"/>
            <ac:cxnSpMk id="95" creationId="{2C064154-623B-4E98-983C-C7AE2C04ECB5}"/>
          </ac:cxnSpMkLst>
        </pc:cxnChg>
        <pc:cxnChg chg="add mod">
          <ac:chgData name="Bruno Hunkeler" userId="aa893333c5787da3" providerId="LiveId" clId="{7E79ACA8-943A-4A57-B885-0EB06BDD93E2}" dt="2021-01-14T09:55:29.043" v="3064" actId="164"/>
          <ac:cxnSpMkLst>
            <pc:docMk/>
            <pc:sldMk cId="133750735" sldId="1091"/>
            <ac:cxnSpMk id="97" creationId="{867763F8-7D1B-4157-8850-368C89231B70}"/>
          </ac:cxnSpMkLst>
        </pc:cxnChg>
      </pc:sldChg>
      <pc:sldChg chg="modSp add mod">
        <pc:chgData name="Bruno Hunkeler" userId="aa893333c5787da3" providerId="LiveId" clId="{7E79ACA8-943A-4A57-B885-0EB06BDD93E2}" dt="2021-01-14T09:59:11.342" v="3073" actId="207"/>
        <pc:sldMkLst>
          <pc:docMk/>
          <pc:sldMk cId="4080380203" sldId="1092"/>
        </pc:sldMkLst>
        <pc:spChg chg="mod">
          <ac:chgData name="Bruno Hunkeler" userId="aa893333c5787da3" providerId="LiveId" clId="{7E79ACA8-943A-4A57-B885-0EB06BDD93E2}" dt="2021-01-14T09:59:11.342" v="3073" actId="207"/>
          <ac:spMkLst>
            <pc:docMk/>
            <pc:sldMk cId="4080380203" sldId="1092"/>
            <ac:spMk id="75" creationId="{1C595E47-9CF0-4FEE-A421-1E478AC8D9DB}"/>
          </ac:spMkLst>
        </pc:spChg>
        <pc:spChg chg="mod">
          <ac:chgData name="Bruno Hunkeler" userId="aa893333c5787da3" providerId="LiveId" clId="{7E79ACA8-943A-4A57-B885-0EB06BDD93E2}" dt="2021-01-14T09:59:11.342" v="3073" actId="207"/>
          <ac:spMkLst>
            <pc:docMk/>
            <pc:sldMk cId="4080380203" sldId="1092"/>
            <ac:spMk id="88" creationId="{113E720B-80EB-4844-9712-4D79931275C1}"/>
          </ac:spMkLst>
        </pc:spChg>
      </pc:sldChg>
      <pc:sldChg chg="modSp add mod ord">
        <pc:chgData name="Bruno Hunkeler" userId="aa893333c5787da3" providerId="LiveId" clId="{7E79ACA8-943A-4A57-B885-0EB06BDD93E2}" dt="2021-01-14T10:03:06.808" v="3087" actId="207"/>
        <pc:sldMkLst>
          <pc:docMk/>
          <pc:sldMk cId="3860247245" sldId="1093"/>
        </pc:sldMkLst>
        <pc:spChg chg="mod">
          <ac:chgData name="Bruno Hunkeler" userId="aa893333c5787da3" providerId="LiveId" clId="{7E79ACA8-943A-4A57-B885-0EB06BDD93E2}" dt="2021-01-14T10:00:55.430" v="3078" actId="207"/>
          <ac:spMkLst>
            <pc:docMk/>
            <pc:sldMk cId="3860247245" sldId="1093"/>
            <ac:spMk id="33" creationId="{C52C4A0F-C1A2-47DA-8742-8A20C62D21A3}"/>
          </ac:spMkLst>
        </pc:spChg>
        <pc:spChg chg="mod">
          <ac:chgData name="Bruno Hunkeler" userId="aa893333c5787da3" providerId="LiveId" clId="{7E79ACA8-943A-4A57-B885-0EB06BDD93E2}" dt="2021-01-14T10:01:02.862" v="3079" actId="207"/>
          <ac:spMkLst>
            <pc:docMk/>
            <pc:sldMk cId="3860247245" sldId="1093"/>
            <ac:spMk id="38" creationId="{83C98139-68F2-4382-B1C0-D9BC4534E429}"/>
          </ac:spMkLst>
        </pc:spChg>
        <pc:spChg chg="mod">
          <ac:chgData name="Bruno Hunkeler" userId="aa893333c5787da3" providerId="LiveId" clId="{7E79ACA8-943A-4A57-B885-0EB06BDD93E2}" dt="2021-01-14T10:03:06.808" v="3087" actId="207"/>
          <ac:spMkLst>
            <pc:docMk/>
            <pc:sldMk cId="3860247245" sldId="1093"/>
            <ac:spMk id="56" creationId="{282EA6F6-7F9E-460A-8CAB-C1AF1BB13A64}"/>
          </ac:spMkLst>
        </pc:spChg>
        <pc:spChg chg="mod">
          <ac:chgData name="Bruno Hunkeler" userId="aa893333c5787da3" providerId="LiveId" clId="{7E79ACA8-943A-4A57-B885-0EB06BDD93E2}" dt="2021-01-14T10:00:48.102" v="3077" actId="207"/>
          <ac:spMkLst>
            <pc:docMk/>
            <pc:sldMk cId="3860247245" sldId="1093"/>
            <ac:spMk id="87" creationId="{18C7B0D7-F1A5-4BF7-BB95-C4BE5A9D3B0C}"/>
          </ac:spMkLst>
        </pc:spChg>
      </pc:sldChg>
      <pc:sldChg chg="modSp add mod ord">
        <pc:chgData name="Bruno Hunkeler" userId="aa893333c5787da3" providerId="LiveId" clId="{7E79ACA8-943A-4A57-B885-0EB06BDD93E2}" dt="2021-01-14T10:02:14.768" v="3086" actId="207"/>
        <pc:sldMkLst>
          <pc:docMk/>
          <pc:sldMk cId="3982386171" sldId="1094"/>
        </pc:sldMkLst>
        <pc:spChg chg="mod">
          <ac:chgData name="Bruno Hunkeler" userId="aa893333c5787da3" providerId="LiveId" clId="{7E79ACA8-943A-4A57-B885-0EB06BDD93E2}" dt="2021-01-14T10:02:14.768" v="3086" actId="207"/>
          <ac:spMkLst>
            <pc:docMk/>
            <pc:sldMk cId="3982386171" sldId="1094"/>
            <ac:spMk id="56" creationId="{282EA6F6-7F9E-460A-8CAB-C1AF1BB13A64}"/>
          </ac:spMkLst>
        </pc:spChg>
        <pc:spChg chg="mod">
          <ac:chgData name="Bruno Hunkeler" userId="aa893333c5787da3" providerId="LiveId" clId="{7E79ACA8-943A-4A57-B885-0EB06BDD93E2}" dt="2021-01-14T10:01:53.135" v="3083" actId="207"/>
          <ac:spMkLst>
            <pc:docMk/>
            <pc:sldMk cId="3982386171" sldId="1094"/>
            <ac:spMk id="62" creationId="{C209E82F-1047-4779-ABBA-1C2982209BC2}"/>
          </ac:spMkLst>
        </pc:spChg>
        <pc:spChg chg="mod">
          <ac:chgData name="Bruno Hunkeler" userId="aa893333c5787da3" providerId="LiveId" clId="{7E79ACA8-943A-4A57-B885-0EB06BDD93E2}" dt="2021-01-14T10:02:08.479" v="3085" actId="207"/>
          <ac:spMkLst>
            <pc:docMk/>
            <pc:sldMk cId="3982386171" sldId="1094"/>
            <ac:spMk id="69" creationId="{3E0156F9-857F-4B3F-90CE-BCBAADF91623}"/>
          </ac:spMkLst>
        </pc:spChg>
        <pc:spChg chg="mod">
          <ac:chgData name="Bruno Hunkeler" userId="aa893333c5787da3" providerId="LiveId" clId="{7E79ACA8-943A-4A57-B885-0EB06BDD93E2}" dt="2021-01-14T10:02:00.415" v="3084" actId="207"/>
          <ac:spMkLst>
            <pc:docMk/>
            <pc:sldMk cId="3982386171" sldId="1094"/>
            <ac:spMk id="70" creationId="{DBDCCC73-333F-4BC1-A52A-C16B0BB0A8BC}"/>
          </ac:spMkLst>
        </pc:spChg>
      </pc:sldChg>
      <pc:sldChg chg="modSp add mod ord">
        <pc:chgData name="Bruno Hunkeler" userId="aa893333c5787da3" providerId="LiveId" clId="{7E79ACA8-943A-4A57-B885-0EB06BDD93E2}" dt="2021-01-14T10:03:55.874" v="3091" actId="207"/>
        <pc:sldMkLst>
          <pc:docMk/>
          <pc:sldMk cId="1180523174" sldId="1095"/>
        </pc:sldMkLst>
        <pc:spChg chg="mod">
          <ac:chgData name="Bruno Hunkeler" userId="aa893333c5787da3" providerId="LiveId" clId="{7E79ACA8-943A-4A57-B885-0EB06BDD93E2}" dt="2021-01-14T10:03:55.874" v="3091" actId="207"/>
          <ac:spMkLst>
            <pc:docMk/>
            <pc:sldMk cId="1180523174" sldId="1095"/>
            <ac:spMk id="63" creationId="{1DBB10AF-970C-4B43-85C7-C95FA7AEFA69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-1588" y="0"/>
            <a:ext cx="4292601" cy="344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2831" rIns="0" bIns="42831" numCol="1" anchor="b" anchorCtr="0" compatLnSpc="1">
            <a:prstTxWarp prst="textNoShape">
              <a:avLst/>
            </a:prstTxWarp>
          </a:bodyPr>
          <a:lstStyle>
            <a:lvl1pPr defTabSz="936625" eaLnBrk="0" hangingPunct="0">
              <a:spcBef>
                <a:spcPct val="0"/>
              </a:spcBef>
              <a:buClrTx/>
              <a:buSzTx/>
              <a:buFontTx/>
              <a:buNone/>
              <a:defRPr sz="1300">
                <a:latin typeface="Credit Suisse Type Roman" pitchFamily="34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576888" y="0"/>
            <a:ext cx="4286250" cy="344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2831" rIns="0" bIns="42831" numCol="1" anchor="b" anchorCtr="0" compatLnSpc="1">
            <a:prstTxWarp prst="textNoShape">
              <a:avLst/>
            </a:prstTxWarp>
          </a:bodyPr>
          <a:lstStyle>
            <a:lvl1pPr algn="r" defTabSz="936625" eaLnBrk="0" hangingPunct="0">
              <a:spcBef>
                <a:spcPct val="0"/>
              </a:spcBef>
              <a:buClrTx/>
              <a:buSzTx/>
              <a:buFontTx/>
              <a:buNone/>
              <a:defRPr sz="1300">
                <a:latin typeface="Credit Suisse Type Roman" pitchFamily="34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-1588" y="6567488"/>
            <a:ext cx="4292601" cy="341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2831" rIns="0" bIns="42831" numCol="1" anchor="b" anchorCtr="0" compatLnSpc="1">
            <a:prstTxWarp prst="textNoShape">
              <a:avLst/>
            </a:prstTxWarp>
          </a:bodyPr>
          <a:lstStyle>
            <a:lvl1pPr defTabSz="936625" eaLnBrk="0" hangingPunct="0">
              <a:spcBef>
                <a:spcPct val="0"/>
              </a:spcBef>
              <a:buClrTx/>
              <a:buSzTx/>
              <a:buFontTx/>
              <a:buNone/>
              <a:defRPr sz="1300">
                <a:latin typeface="Credit Suisse Type Roman" pitchFamily="34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576888" y="6567488"/>
            <a:ext cx="4286250" cy="341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2831" rIns="0" bIns="42831" numCol="1" anchor="b" anchorCtr="0" compatLnSpc="1">
            <a:prstTxWarp prst="textNoShape">
              <a:avLst/>
            </a:prstTxWarp>
          </a:bodyPr>
          <a:lstStyle>
            <a:lvl1pPr algn="r" defTabSz="936625" eaLnBrk="0" hangingPunct="0">
              <a:spcBef>
                <a:spcPct val="0"/>
              </a:spcBef>
              <a:buClrTx/>
              <a:buSzTx/>
              <a:buFontTx/>
              <a:buNone/>
              <a:defRPr sz="1300">
                <a:latin typeface="Credit Suisse Type Roman" pitchFamily="34" charset="0"/>
              </a:defRPr>
            </a:lvl1pPr>
          </a:lstStyle>
          <a:p>
            <a:pPr>
              <a:defRPr/>
            </a:pPr>
            <a:fld id="{3EBC21D5-9746-4000-99AC-803396D7A1FF}" type="slidenum">
              <a:rPr lang="de-CH"/>
              <a:pPr>
                <a:defRPr/>
              </a:pPr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571938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491359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redit Suisse Type Roman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redit Suisse Type Roman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redit Suisse Type Roman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redit Suisse Type Roman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redit Suisse Type Roman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232150" y="515938"/>
            <a:ext cx="3441700" cy="2581275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963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3270250"/>
            <a:ext cx="7924800" cy="309721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405188" y="860425"/>
            <a:ext cx="3095625" cy="2322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90600" y="3313113"/>
            <a:ext cx="7924800" cy="2709862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57551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232150" y="515938"/>
            <a:ext cx="3441700" cy="2581275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065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3270250"/>
            <a:ext cx="7924800" cy="309721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232150" y="515938"/>
            <a:ext cx="3441700" cy="2581275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3270250"/>
            <a:ext cx="7924800" cy="309721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5235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232150" y="515938"/>
            <a:ext cx="3441700" cy="2581275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3270250"/>
            <a:ext cx="7924800" cy="309721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7608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232150" y="515938"/>
            <a:ext cx="3441700" cy="2581275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1776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3270250"/>
            <a:ext cx="7924800" cy="309721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405188" y="860425"/>
            <a:ext cx="3095625" cy="2322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90600" y="3313113"/>
            <a:ext cx="7924800" cy="2709862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19123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405188" y="860425"/>
            <a:ext cx="3095625" cy="2322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90600" y="3313113"/>
            <a:ext cx="7924800" cy="2709862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24057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405188" y="860425"/>
            <a:ext cx="3095625" cy="2322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90600" y="3313113"/>
            <a:ext cx="7924800" cy="2709862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59728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405188" y="860425"/>
            <a:ext cx="3095625" cy="2322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90600" y="3313113"/>
            <a:ext cx="7924800" cy="2709862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32485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02481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1475" y="284163"/>
            <a:ext cx="2155825" cy="60594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0825" y="284163"/>
            <a:ext cx="6318250" cy="60594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41410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284163"/>
            <a:ext cx="8626475" cy="8572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50825" y="1409700"/>
            <a:ext cx="8626475" cy="4933950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921299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57587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0825" y="1409700"/>
            <a:ext cx="4237038" cy="49339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0263" y="1409700"/>
            <a:ext cx="4237037" cy="49339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97537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82514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78709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56779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52466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7259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98964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50825" y="284163"/>
            <a:ext cx="86264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le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1409700"/>
            <a:ext cx="8626475" cy="493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Stufe 1</a:t>
            </a:r>
          </a:p>
          <a:p>
            <a:pPr lvl="1"/>
            <a:r>
              <a:rPr lang="en-GB"/>
              <a:t>Stufe 2</a:t>
            </a:r>
          </a:p>
          <a:p>
            <a:pPr lvl="2"/>
            <a:r>
              <a:rPr lang="en-GB"/>
              <a:t>Stufe 3</a:t>
            </a:r>
          </a:p>
        </p:txBody>
      </p:sp>
      <p:sp>
        <p:nvSpPr>
          <p:cNvPr id="1028" name="Line 69"/>
          <p:cNvSpPr>
            <a:spLocks noChangeShapeType="1"/>
          </p:cNvSpPr>
          <p:nvPr/>
        </p:nvSpPr>
        <p:spPr bwMode="auto">
          <a:xfrm>
            <a:off x="250825" y="6484938"/>
            <a:ext cx="8626475" cy="0"/>
          </a:xfrm>
          <a:prstGeom prst="line">
            <a:avLst/>
          </a:prstGeom>
          <a:noFill/>
          <a:ln w="25400">
            <a:solidFill>
              <a:srgbClr val="C0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029" name="Rectangle 124"/>
          <p:cNvSpPr>
            <a:spLocks noChangeArrowheads="1"/>
          </p:cNvSpPr>
          <p:nvPr/>
        </p:nvSpPr>
        <p:spPr bwMode="auto">
          <a:xfrm>
            <a:off x="8345488" y="6618288"/>
            <a:ext cx="511175" cy="17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r">
              <a:lnSpc>
                <a:spcPct val="94000"/>
              </a:lnSpc>
              <a:spcBef>
                <a:spcPct val="0"/>
              </a:spcBef>
            </a:pPr>
            <a:fld id="{FFBC23D9-D3C0-4101-9649-664E2EFEB7A7}" type="slidenum">
              <a:rPr lang="en-GB" sz="900">
                <a:solidFill>
                  <a:srgbClr val="000000"/>
                </a:solidFill>
              </a:rPr>
              <a:pPr algn="r">
                <a:lnSpc>
                  <a:spcPct val="94000"/>
                </a:lnSpc>
                <a:spcBef>
                  <a:spcPct val="0"/>
                </a:spcBef>
              </a:pPr>
              <a:t>‹#›</a:t>
            </a:fld>
            <a:endParaRPr lang="en-GB" sz="90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728663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003868"/>
          </a:solidFill>
          <a:latin typeface="+mj-lt"/>
          <a:ea typeface="+mj-ea"/>
          <a:cs typeface="+mj-cs"/>
        </a:defRPr>
      </a:lvl1pPr>
      <a:lvl2pPr algn="l" defTabSz="728663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003868"/>
          </a:solidFill>
          <a:latin typeface="Credit Suisse Type Light" pitchFamily="34" charset="0"/>
        </a:defRPr>
      </a:lvl2pPr>
      <a:lvl3pPr algn="l" defTabSz="728663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003868"/>
          </a:solidFill>
          <a:latin typeface="Credit Suisse Type Light" pitchFamily="34" charset="0"/>
        </a:defRPr>
      </a:lvl3pPr>
      <a:lvl4pPr algn="l" defTabSz="728663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003868"/>
          </a:solidFill>
          <a:latin typeface="Credit Suisse Type Light" pitchFamily="34" charset="0"/>
        </a:defRPr>
      </a:lvl4pPr>
      <a:lvl5pPr algn="l" defTabSz="728663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003868"/>
          </a:solidFill>
          <a:latin typeface="Credit Suisse Type Light" pitchFamily="34" charset="0"/>
        </a:defRPr>
      </a:lvl5pPr>
      <a:lvl6pPr marL="457200" algn="l" defTabSz="728663" rtl="0" fontAlgn="base">
        <a:spcBef>
          <a:spcPct val="0"/>
        </a:spcBef>
        <a:spcAft>
          <a:spcPct val="0"/>
        </a:spcAft>
        <a:defRPr sz="2600" b="1">
          <a:solidFill>
            <a:srgbClr val="003868"/>
          </a:solidFill>
          <a:latin typeface="Credit Suisse Type Light" pitchFamily="34" charset="0"/>
        </a:defRPr>
      </a:lvl6pPr>
      <a:lvl7pPr marL="914400" algn="l" defTabSz="728663" rtl="0" fontAlgn="base">
        <a:spcBef>
          <a:spcPct val="0"/>
        </a:spcBef>
        <a:spcAft>
          <a:spcPct val="0"/>
        </a:spcAft>
        <a:defRPr sz="2600" b="1">
          <a:solidFill>
            <a:srgbClr val="003868"/>
          </a:solidFill>
          <a:latin typeface="Credit Suisse Type Light" pitchFamily="34" charset="0"/>
        </a:defRPr>
      </a:lvl7pPr>
      <a:lvl8pPr marL="1371600" algn="l" defTabSz="728663" rtl="0" fontAlgn="base">
        <a:spcBef>
          <a:spcPct val="0"/>
        </a:spcBef>
        <a:spcAft>
          <a:spcPct val="0"/>
        </a:spcAft>
        <a:defRPr sz="2600" b="1">
          <a:solidFill>
            <a:srgbClr val="003868"/>
          </a:solidFill>
          <a:latin typeface="Credit Suisse Type Light" pitchFamily="34" charset="0"/>
        </a:defRPr>
      </a:lvl8pPr>
      <a:lvl9pPr marL="1828800" algn="l" defTabSz="728663" rtl="0" fontAlgn="base">
        <a:spcBef>
          <a:spcPct val="0"/>
        </a:spcBef>
        <a:spcAft>
          <a:spcPct val="0"/>
        </a:spcAft>
        <a:defRPr sz="2600" b="1">
          <a:solidFill>
            <a:srgbClr val="003868"/>
          </a:solidFill>
          <a:latin typeface="Credit Suisse Type Light" pitchFamily="34" charset="0"/>
        </a:defRPr>
      </a:lvl9pPr>
    </p:titleStyle>
    <p:bodyStyle>
      <a:lvl1pPr marL="257175" indent="-257175" algn="l" defTabSz="728663" rtl="0" eaLnBrk="0" fontAlgn="base" hangingPunct="0">
        <a:spcBef>
          <a:spcPct val="0"/>
        </a:spcBef>
        <a:spcAft>
          <a:spcPct val="0"/>
        </a:spcAft>
        <a:buClr>
          <a:srgbClr val="91867E"/>
        </a:buClr>
        <a:buFont typeface="Credit Suisse Type Light" pitchFamily="34" charset="0"/>
        <a:buChar char=""/>
        <a:tabLst>
          <a:tab pos="4286250" algn="l"/>
        </a:tabLst>
        <a:defRPr sz="2200">
          <a:solidFill>
            <a:srgbClr val="000000"/>
          </a:solidFill>
          <a:latin typeface="+mn-lt"/>
          <a:ea typeface="+mn-ea"/>
          <a:cs typeface="+mn-cs"/>
        </a:defRPr>
      </a:lvl1pPr>
      <a:lvl2pPr marL="504825" indent="-246063" algn="l" defTabSz="7286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Credit Suisse Type Light" pitchFamily="34" charset="0"/>
        <a:buChar char="–"/>
        <a:tabLst>
          <a:tab pos="4286250" algn="l"/>
        </a:tabLst>
        <a:defRPr sz="2200">
          <a:solidFill>
            <a:srgbClr val="000000"/>
          </a:solidFill>
          <a:latin typeface="+mn-lt"/>
        </a:defRPr>
      </a:lvl2pPr>
      <a:lvl3pPr marL="752475" indent="-246063" algn="l" defTabSz="728663" rtl="0" eaLnBrk="0" fontAlgn="base" hangingPunct="0">
        <a:spcBef>
          <a:spcPct val="0"/>
        </a:spcBef>
        <a:spcAft>
          <a:spcPct val="0"/>
        </a:spcAft>
        <a:buClr>
          <a:srgbClr val="91867E"/>
        </a:buClr>
        <a:buFont typeface="Credit Suisse Type Light" pitchFamily="34" charset="0"/>
        <a:buChar char=""/>
        <a:tabLst>
          <a:tab pos="4286250" algn="l"/>
        </a:tabLst>
        <a:defRPr sz="2200">
          <a:solidFill>
            <a:srgbClr val="000000"/>
          </a:solidFill>
          <a:latin typeface="+mn-lt"/>
        </a:defRPr>
      </a:lvl3pPr>
      <a:lvl4pPr marL="990600" indent="-236538" algn="l" defTabSz="728663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buChar char="P"/>
        <a:tabLst>
          <a:tab pos="4286250" algn="l"/>
        </a:tabLst>
        <a:defRPr sz="1600">
          <a:solidFill>
            <a:schemeClr val="tx1"/>
          </a:solidFill>
          <a:latin typeface="Credit Suisse Type Roman" pitchFamily="34" charset="0"/>
        </a:defRPr>
      </a:lvl4pPr>
      <a:lvl5pPr marL="1181100" indent="647700" algn="l" defTabSz="728663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buChar char="P"/>
        <a:tabLst>
          <a:tab pos="4286250" algn="l"/>
        </a:tabLst>
        <a:defRPr sz="1200">
          <a:solidFill>
            <a:schemeClr val="tx1"/>
          </a:solidFill>
          <a:latin typeface="Credit Suisse Type Roman" pitchFamily="34" charset="0"/>
        </a:defRPr>
      </a:lvl5pPr>
      <a:lvl6pPr marL="1638300" algn="l" defTabSz="728663" rtl="0" fontAlgn="base"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buChar char="P"/>
        <a:tabLst>
          <a:tab pos="4286250" algn="l"/>
        </a:tabLst>
        <a:defRPr sz="1200">
          <a:solidFill>
            <a:schemeClr val="tx1"/>
          </a:solidFill>
          <a:latin typeface="Credit Suisse Type Roman" pitchFamily="34" charset="0"/>
        </a:defRPr>
      </a:lvl6pPr>
      <a:lvl7pPr marL="2095500" algn="l" defTabSz="728663" rtl="0" fontAlgn="base"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buChar char="P"/>
        <a:tabLst>
          <a:tab pos="4286250" algn="l"/>
        </a:tabLst>
        <a:defRPr sz="1200">
          <a:solidFill>
            <a:schemeClr val="tx1"/>
          </a:solidFill>
          <a:latin typeface="Credit Suisse Type Roman" pitchFamily="34" charset="0"/>
        </a:defRPr>
      </a:lvl7pPr>
      <a:lvl8pPr marL="2552700" algn="l" defTabSz="728663" rtl="0" fontAlgn="base"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buChar char="P"/>
        <a:tabLst>
          <a:tab pos="4286250" algn="l"/>
        </a:tabLst>
        <a:defRPr sz="1200">
          <a:solidFill>
            <a:schemeClr val="tx1"/>
          </a:solidFill>
          <a:latin typeface="Credit Suisse Type Roman" pitchFamily="34" charset="0"/>
        </a:defRPr>
      </a:lvl8pPr>
      <a:lvl9pPr marL="3009900" algn="l" defTabSz="728663" rtl="0" fontAlgn="base"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buChar char="P"/>
        <a:tabLst>
          <a:tab pos="4286250" algn="l"/>
        </a:tabLst>
        <a:defRPr sz="1200">
          <a:solidFill>
            <a:schemeClr val="tx1"/>
          </a:solidFill>
          <a:latin typeface="Credit Suisse Type Roman" pitchFamily="34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jp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4.jpg"/><Relationship Id="rId4" Type="http://schemas.openxmlformats.org/officeDocument/2006/relationships/image" Target="../media/image13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7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050" name="Rectangle 7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2"/>
          <p:cNvSpPr>
            <a:spLocks noGrp="1" noChangeArrowheads="1"/>
          </p:cNvSpPr>
          <p:nvPr>
            <p:ph type="ctrTitle" idx="4294967295"/>
            <p:custDataLst>
              <p:tags r:id="rId2"/>
            </p:custDataLst>
          </p:nvPr>
        </p:nvSpPr>
        <p:spPr bwMode="gray">
          <a:xfrm>
            <a:off x="3048000" y="1844824"/>
            <a:ext cx="6084887" cy="1008062"/>
          </a:xfrm>
          <a:noFill/>
        </p:spPr>
        <p:txBody>
          <a:bodyPr/>
          <a:lstStyle/>
          <a:p>
            <a:pPr eaLnBrk="1" hangingPunct="1"/>
            <a:r>
              <a:rPr lang="en-GB" sz="2100" dirty="0"/>
              <a:t>Trash bins – The ideal route</a:t>
            </a:r>
            <a:br>
              <a:rPr lang="en-GB" sz="2100" dirty="0"/>
            </a:br>
            <a:r>
              <a:rPr lang="en-US" sz="2000" b="0" dirty="0">
                <a:solidFill>
                  <a:schemeClr val="tx2"/>
                </a:solidFill>
              </a:rPr>
              <a:t>CAS Machine Intelligence</a:t>
            </a:r>
          </a:p>
        </p:txBody>
      </p:sp>
      <p:sp>
        <p:nvSpPr>
          <p:cNvPr id="2053" name="Text Box 9"/>
          <p:cNvSpPr txBox="1">
            <a:spLocks noChangeArrowheads="1"/>
          </p:cNvSpPr>
          <p:nvPr/>
        </p:nvSpPr>
        <p:spPr bwMode="auto">
          <a:xfrm>
            <a:off x="3048000" y="5373688"/>
            <a:ext cx="584041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6700" indent="-266700" eaLnBrk="0" hangingPunct="0">
              <a:defRPr sz="1000">
                <a:solidFill>
                  <a:schemeClr val="tx1"/>
                </a:solidFill>
                <a:latin typeface="Credit Suisse Type Light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Credit Suisse Type Light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Credit Suisse Type Light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Credit Suisse Type Light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Credit Suisse Type Light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defRPr sz="1000">
                <a:solidFill>
                  <a:schemeClr val="tx1"/>
                </a:solidFill>
                <a:latin typeface="Credit Suisse Type Light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defRPr sz="1000">
                <a:solidFill>
                  <a:schemeClr val="tx1"/>
                </a:solidFill>
                <a:latin typeface="Credit Suisse Type Light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defRPr sz="1000">
                <a:solidFill>
                  <a:schemeClr val="tx1"/>
                </a:solidFill>
                <a:latin typeface="Credit Suisse Type Light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defRPr sz="1000">
                <a:solidFill>
                  <a:schemeClr val="tx1"/>
                </a:solidFill>
                <a:latin typeface="Credit Suisse Type Light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en-US" sz="1400"/>
          </a:p>
        </p:txBody>
      </p:sp>
      <p:sp>
        <p:nvSpPr>
          <p:cNvPr id="2054" name="Text Box 10"/>
          <p:cNvSpPr txBox="1">
            <a:spLocks noChangeArrowheads="1"/>
          </p:cNvSpPr>
          <p:nvPr/>
        </p:nvSpPr>
        <p:spPr bwMode="auto">
          <a:xfrm>
            <a:off x="3048000" y="5662613"/>
            <a:ext cx="584041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6700" indent="-266700" eaLnBrk="0" hangingPunct="0">
              <a:defRPr sz="1000">
                <a:solidFill>
                  <a:schemeClr val="tx1"/>
                </a:solidFill>
                <a:latin typeface="Credit Suisse Type Light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Credit Suisse Type Light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Credit Suisse Type Light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Credit Suisse Type Light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Credit Suisse Type Light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defRPr sz="1000">
                <a:solidFill>
                  <a:schemeClr val="tx1"/>
                </a:solidFill>
                <a:latin typeface="Credit Suisse Type Light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defRPr sz="1000">
                <a:solidFill>
                  <a:schemeClr val="tx1"/>
                </a:solidFill>
                <a:latin typeface="Credit Suisse Type Light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defRPr sz="1000">
                <a:solidFill>
                  <a:schemeClr val="tx1"/>
                </a:solidFill>
                <a:latin typeface="Credit Suisse Type Light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defRPr sz="1000">
                <a:solidFill>
                  <a:schemeClr val="tx1"/>
                </a:solidFill>
                <a:latin typeface="Credit Suisse Type Light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January 2021</a:t>
            </a:r>
          </a:p>
        </p:txBody>
      </p:sp>
      <p:sp>
        <p:nvSpPr>
          <p:cNvPr id="2055" name="Rectangle 6"/>
          <p:cNvSpPr>
            <a:spLocks noChangeArrowheads="1"/>
          </p:cNvSpPr>
          <p:nvPr/>
        </p:nvSpPr>
        <p:spPr bwMode="auto">
          <a:xfrm>
            <a:off x="3059113" y="4997450"/>
            <a:ext cx="6088061" cy="107950"/>
          </a:xfrm>
          <a:prstGeom prst="rect">
            <a:avLst/>
          </a:prstGeom>
          <a:solidFill>
            <a:srgbClr val="9D0E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en-US" sz="1800"/>
          </a:p>
        </p:txBody>
      </p:sp>
      <p:sp>
        <p:nvSpPr>
          <p:cNvPr id="3" name="Text Box 10">
            <a:extLst>
              <a:ext uri="{FF2B5EF4-FFF2-40B4-BE49-F238E27FC236}">
                <a16:creationId xmlns:a16="http://schemas.microsoft.com/office/drawing/2014/main" id="{11F268FA-ECFC-4315-996E-A45AB673FE3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7596" y="5908453"/>
            <a:ext cx="584041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6700" indent="-266700" eaLnBrk="0" hangingPunct="0">
              <a:defRPr sz="1000">
                <a:solidFill>
                  <a:schemeClr val="tx1"/>
                </a:solidFill>
                <a:latin typeface="Credit Suisse Type Light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Credit Suisse Type Light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Credit Suisse Type Light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Credit Suisse Type Light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Credit Suisse Type Light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defRPr sz="1000">
                <a:solidFill>
                  <a:schemeClr val="tx1"/>
                </a:solidFill>
                <a:latin typeface="Credit Suisse Type Light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defRPr sz="1000">
                <a:solidFill>
                  <a:schemeClr val="tx1"/>
                </a:solidFill>
                <a:latin typeface="Credit Suisse Type Light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defRPr sz="1000">
                <a:solidFill>
                  <a:schemeClr val="tx1"/>
                </a:solidFill>
                <a:latin typeface="Credit Suisse Type Light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Wingdings" pitchFamily="2" charset="2"/>
              <a:defRPr sz="1000">
                <a:solidFill>
                  <a:schemeClr val="tx1"/>
                </a:solidFill>
                <a:latin typeface="Credit Suisse Type Light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sz="1400" b="1">
                <a:solidFill>
                  <a:schemeClr val="bg1">
                    <a:lumMod val="50000"/>
                  </a:schemeClr>
                </a:solidFill>
              </a:rPr>
              <a:t>Bruno Hunkeler </a:t>
            </a:r>
          </a:p>
        </p:txBody>
      </p:sp>
      <p:pic>
        <p:nvPicPr>
          <p:cNvPr id="4" name="Picture 3" descr="Light trails of traffic at night">
            <a:extLst>
              <a:ext uri="{FF2B5EF4-FFF2-40B4-BE49-F238E27FC236}">
                <a16:creationId xmlns:a16="http://schemas.microsoft.com/office/drawing/2014/main" id="{29340FFC-997D-4C86-9D27-86ECEE1A62D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34" b="48085"/>
          <a:stretch/>
        </p:blipFill>
        <p:spPr>
          <a:xfrm>
            <a:off x="3059113" y="3229124"/>
            <a:ext cx="6088061" cy="1768326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21BA727-6688-45BB-9DDD-2F708FEB3B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800" y="44450"/>
            <a:ext cx="8453438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defTabSz="728663">
              <a:spcBef>
                <a:spcPct val="0"/>
              </a:spcBef>
              <a:buClrTx/>
              <a:buSzTx/>
              <a:buFontTx/>
              <a:buNone/>
            </a:pPr>
            <a:r>
              <a:rPr lang="en-US" sz="2000" b="1" dirty="0">
                <a:solidFill>
                  <a:srgbClr val="003868"/>
                </a:solidFill>
              </a:rPr>
              <a:t>Archive</a:t>
            </a:r>
            <a:r>
              <a:rPr lang="en-US" sz="2600" b="1" dirty="0">
                <a:solidFill>
                  <a:srgbClr val="003868"/>
                </a:solidFill>
              </a:rPr>
              <a:t> </a:t>
            </a:r>
            <a:br>
              <a:rPr lang="en-US" sz="2600" b="1" dirty="0">
                <a:solidFill>
                  <a:srgbClr val="003868"/>
                </a:solidFill>
              </a:rPr>
            </a:br>
            <a:r>
              <a:rPr lang="en-US" sz="1800" dirty="0">
                <a:solidFill>
                  <a:srgbClr val="9186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urther Information and Screenshots</a:t>
            </a:r>
          </a:p>
        </p:txBody>
      </p:sp>
    </p:spTree>
    <p:extLst>
      <p:ext uri="{BB962C8B-B14F-4D97-AF65-F5344CB8AC3E}">
        <p14:creationId xmlns:p14="http://schemas.microsoft.com/office/powerpoint/2010/main" val="39886495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" name="Group 102">
            <a:extLst>
              <a:ext uri="{FF2B5EF4-FFF2-40B4-BE49-F238E27FC236}">
                <a16:creationId xmlns:a16="http://schemas.microsoft.com/office/drawing/2014/main" id="{B077BCEE-1ACF-48EA-AD5D-462A27E89780}"/>
              </a:ext>
            </a:extLst>
          </p:cNvPr>
          <p:cNvGrpSpPr/>
          <p:nvPr/>
        </p:nvGrpSpPr>
        <p:grpSpPr>
          <a:xfrm>
            <a:off x="659103" y="949584"/>
            <a:ext cx="7958424" cy="5647296"/>
            <a:chOff x="659103" y="949584"/>
            <a:chExt cx="7958424" cy="5647296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C3AE51B-4FBF-4552-AA20-E638E7FA1772}"/>
                </a:ext>
              </a:extLst>
            </p:cNvPr>
            <p:cNvSpPr/>
            <p:nvPr/>
          </p:nvSpPr>
          <p:spPr>
            <a:xfrm>
              <a:off x="659103" y="949584"/>
              <a:ext cx="7958424" cy="5647296"/>
            </a:xfrm>
            <a:prstGeom prst="rect">
              <a:avLst/>
            </a:prstGeom>
            <a:solidFill>
              <a:schemeClr val="bg1"/>
            </a:solidFill>
            <a:ln w="158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F9F6430-C6A3-41D8-A605-A111468A4537}"/>
                </a:ext>
              </a:extLst>
            </p:cNvPr>
            <p:cNvSpPr/>
            <p:nvPr/>
          </p:nvSpPr>
          <p:spPr>
            <a:xfrm>
              <a:off x="798256" y="2347460"/>
              <a:ext cx="2078095" cy="351763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B603732-BD29-4B70-9EE4-65312A7243B8}"/>
                </a:ext>
              </a:extLst>
            </p:cNvPr>
            <p:cNvSpPr/>
            <p:nvPr/>
          </p:nvSpPr>
          <p:spPr>
            <a:xfrm>
              <a:off x="798256" y="1304923"/>
              <a:ext cx="7720903" cy="10102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52C4A0F-C1A2-47DA-8742-8A20C62D21A3}"/>
                </a:ext>
              </a:extLst>
            </p:cNvPr>
            <p:cNvSpPr/>
            <p:nvPr/>
          </p:nvSpPr>
          <p:spPr>
            <a:xfrm>
              <a:off x="1152079" y="3916260"/>
              <a:ext cx="1278088" cy="4136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ensor data </a:t>
              </a:r>
              <a:b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nalytics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DA3F7157-2D9D-4A39-A39C-D58CE677302A}"/>
                </a:ext>
              </a:extLst>
            </p:cNvPr>
            <p:cNvGrpSpPr/>
            <p:nvPr/>
          </p:nvGrpSpPr>
          <p:grpSpPr>
            <a:xfrm>
              <a:off x="1409140" y="1368420"/>
              <a:ext cx="856326" cy="881077"/>
              <a:chOff x="5181600" y="2057400"/>
              <a:chExt cx="914400" cy="1210361"/>
            </a:xfrm>
          </p:grpSpPr>
          <p:pic>
            <p:nvPicPr>
              <p:cNvPr id="52" name="Graphic 51" descr="Server with solid fill">
                <a:extLst>
                  <a:ext uri="{FF2B5EF4-FFF2-40B4-BE49-F238E27FC236}">
                    <a16:creationId xmlns:a16="http://schemas.microsoft.com/office/drawing/2014/main" id="{FA0B0BB1-8782-4157-88B2-52573968FC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541462D8-01A1-4B13-8B29-A1E8B41181D3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763767" cy="29596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Client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35081949-6001-4983-9DFE-DD27D2B674BE}"/>
                </a:ext>
              </a:extLst>
            </p:cNvPr>
            <p:cNvCxnSpPr>
              <a:cxnSpLocks/>
              <a:stCxn id="52" idx="3"/>
              <a:endCxn id="60" idx="1"/>
            </p:cNvCxnSpPr>
            <p:nvPr/>
          </p:nvCxnSpPr>
          <p:spPr>
            <a:xfrm>
              <a:off x="2265466" y="1701237"/>
              <a:ext cx="5095057" cy="0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BEEF263-B2CE-4A3A-937E-AA27FFAD33C7}"/>
                </a:ext>
              </a:extLst>
            </p:cNvPr>
            <p:cNvSpPr txBox="1"/>
            <p:nvPr/>
          </p:nvSpPr>
          <p:spPr>
            <a:xfrm>
              <a:off x="3655721" y="1468348"/>
              <a:ext cx="122180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ensor Data (JSON)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83C98139-68F2-4382-B1C0-D9BC4534E429}"/>
                </a:ext>
              </a:extLst>
            </p:cNvPr>
            <p:cNvSpPr/>
            <p:nvPr/>
          </p:nvSpPr>
          <p:spPr>
            <a:xfrm>
              <a:off x="1152079" y="4636043"/>
              <a:ext cx="1278089" cy="3600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eo Coordinates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Evaluation 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47169235-38F1-439A-87FB-A35ABD564994}"/>
                </a:ext>
              </a:extLst>
            </p:cNvPr>
            <p:cNvCxnSpPr>
              <a:cxnSpLocks/>
              <a:stCxn id="33" idx="2"/>
              <a:endCxn id="38" idx="0"/>
            </p:cNvCxnSpPr>
            <p:nvPr/>
          </p:nvCxnSpPr>
          <p:spPr>
            <a:xfrm>
              <a:off x="1791123" y="4329883"/>
              <a:ext cx="1" cy="30616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CC64E003-BF4D-4492-986C-F11AE389C35D}"/>
                </a:ext>
              </a:extLst>
            </p:cNvPr>
            <p:cNvSpPr txBox="1"/>
            <p:nvPr/>
          </p:nvSpPr>
          <p:spPr>
            <a:xfrm>
              <a:off x="737474" y="1052275"/>
              <a:ext cx="247650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Trash bin - Applica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F7F1B50-C9E6-42C2-84E5-EABE569CCF3F}"/>
                </a:ext>
              </a:extLst>
            </p:cNvPr>
            <p:cNvSpPr txBox="1"/>
            <p:nvPr/>
          </p:nvSpPr>
          <p:spPr>
            <a:xfrm>
              <a:off x="3655721" y="1706737"/>
              <a:ext cx="199445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Filling level / IoT Component St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2EF66B59-4290-4617-8C03-D6FFF2D69E34}"/>
                </a:ext>
              </a:extLst>
            </p:cNvPr>
            <p:cNvGrpSpPr/>
            <p:nvPr/>
          </p:nvGrpSpPr>
          <p:grpSpPr>
            <a:xfrm>
              <a:off x="7360523" y="1368420"/>
              <a:ext cx="856326" cy="881077"/>
              <a:chOff x="5181600" y="2057400"/>
              <a:chExt cx="914400" cy="1210361"/>
            </a:xfrm>
          </p:grpSpPr>
          <p:pic>
            <p:nvPicPr>
              <p:cNvPr id="60" name="Graphic 59" descr="Server with solid fill">
                <a:extLst>
                  <a:ext uri="{FF2B5EF4-FFF2-40B4-BE49-F238E27FC236}">
                    <a16:creationId xmlns:a16="http://schemas.microsoft.com/office/drawing/2014/main" id="{184BED0C-8F5A-4DB5-8AC9-731B8D576F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EE37D09E-ABFA-4792-B8C3-2575FC293596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809983" cy="29596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Server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2443DB29-6E06-4303-ADBF-5E5EF66DE6A3}"/>
                </a:ext>
              </a:extLst>
            </p:cNvPr>
            <p:cNvSpPr/>
            <p:nvPr/>
          </p:nvSpPr>
          <p:spPr>
            <a:xfrm>
              <a:off x="2921198" y="2347459"/>
              <a:ext cx="4087194" cy="210025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F1763B1-29F8-4061-AEC8-884BFF41775C}"/>
                </a:ext>
              </a:extLst>
            </p:cNvPr>
            <p:cNvGrpSpPr/>
            <p:nvPr/>
          </p:nvGrpSpPr>
          <p:grpSpPr>
            <a:xfrm>
              <a:off x="3213975" y="2471746"/>
              <a:ext cx="857870" cy="1028809"/>
              <a:chOff x="5181600" y="2057400"/>
              <a:chExt cx="916048" cy="1413304"/>
            </a:xfrm>
          </p:grpSpPr>
          <p:pic>
            <p:nvPicPr>
              <p:cNvPr id="66" name="Graphic 65" descr="Server with solid fill">
                <a:extLst>
                  <a:ext uri="{FF2B5EF4-FFF2-40B4-BE49-F238E27FC236}">
                    <a16:creationId xmlns:a16="http://schemas.microsoft.com/office/drawing/2014/main" id="{8F7DCF30-13CC-4C94-B342-49540DFD6A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636CFF45-8086-4525-BEF6-5087C4DE104D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887011" cy="49890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Stream </a:t>
                </a:r>
              </a:p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Consumer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35DEB4B4-9E6D-4792-8804-270C37B4E15D}"/>
                </a:ext>
              </a:extLst>
            </p:cNvPr>
            <p:cNvCxnSpPr>
              <a:cxnSpLocks/>
              <a:stCxn id="66" idx="3"/>
              <a:endCxn id="72" idx="1"/>
            </p:cNvCxnSpPr>
            <p:nvPr/>
          </p:nvCxnSpPr>
          <p:spPr>
            <a:xfrm flipV="1">
              <a:off x="4070302" y="2803871"/>
              <a:ext cx="1886104" cy="692"/>
            </a:xfrm>
            <a:prstGeom prst="straightConnector1">
              <a:avLst/>
            </a:prstGeom>
            <a:ln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7049FCD-F244-4B3C-AA89-A21238BE564B}"/>
                </a:ext>
              </a:extLst>
            </p:cNvPr>
            <p:cNvGrpSpPr/>
            <p:nvPr/>
          </p:nvGrpSpPr>
          <p:grpSpPr>
            <a:xfrm>
              <a:off x="5956406" y="2471054"/>
              <a:ext cx="857870" cy="1028808"/>
              <a:chOff x="5181600" y="2057400"/>
              <a:chExt cx="916047" cy="1413304"/>
            </a:xfrm>
          </p:grpSpPr>
          <p:pic>
            <p:nvPicPr>
              <p:cNvPr id="72" name="Graphic 71" descr="Server with solid fill">
                <a:extLst>
                  <a:ext uri="{FF2B5EF4-FFF2-40B4-BE49-F238E27FC236}">
                    <a16:creationId xmlns:a16="http://schemas.microsoft.com/office/drawing/2014/main" id="{782A2117-0BF8-417F-A2B4-1F613B7FEB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2CDED979-644D-40C6-9A4D-F39EA83C3975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887010" cy="49890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Stream </a:t>
                </a:r>
              </a:p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Producer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C2F9171E-6E9B-4100-B58B-B2EBC900FBF6}"/>
                </a:ext>
              </a:extLst>
            </p:cNvPr>
            <p:cNvCxnSpPr>
              <a:cxnSpLocks/>
              <a:stCxn id="53" idx="2"/>
              <a:endCxn id="33" idx="0"/>
            </p:cNvCxnSpPr>
            <p:nvPr/>
          </p:nvCxnSpPr>
          <p:spPr>
            <a:xfrm flipH="1">
              <a:off x="1791123" y="2249497"/>
              <a:ext cx="2840" cy="166676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1C595E47-9CF0-4FEE-A421-1E478AC8D9DB}"/>
                </a:ext>
              </a:extLst>
            </p:cNvPr>
            <p:cNvSpPr/>
            <p:nvPr/>
          </p:nvSpPr>
          <p:spPr>
            <a:xfrm>
              <a:off x="3246981" y="3916260"/>
              <a:ext cx="1278088" cy="4136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ensor data </a:t>
              </a:r>
              <a:b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tream Analytics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81775D60-3A98-4316-87A5-A9EBF60B00DB}"/>
                </a:ext>
              </a:extLst>
            </p:cNvPr>
            <p:cNvSpPr txBox="1"/>
            <p:nvPr/>
          </p:nvSpPr>
          <p:spPr>
            <a:xfrm>
              <a:off x="4092628" y="2583351"/>
              <a:ext cx="186781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24h Sensor Data Stream (JSON)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4CEFE013-6C92-4660-8F85-0B9C4F8C3A64}"/>
                </a:ext>
              </a:extLst>
            </p:cNvPr>
            <p:cNvSpPr txBox="1"/>
            <p:nvPr/>
          </p:nvSpPr>
          <p:spPr>
            <a:xfrm>
              <a:off x="4105201" y="2827950"/>
              <a:ext cx="199445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Filling level / IoT Component St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113E720B-80EB-4844-9712-4D79931275C1}"/>
                </a:ext>
              </a:extLst>
            </p:cNvPr>
            <p:cNvSpPr/>
            <p:nvPr/>
          </p:nvSpPr>
          <p:spPr>
            <a:xfrm>
              <a:off x="5393865" y="3916260"/>
              <a:ext cx="1278088" cy="4136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nalytics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ashboard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AA05739B-A194-4AB1-96FA-D70C9FF2606D}"/>
                </a:ext>
              </a:extLst>
            </p:cNvPr>
            <p:cNvCxnSpPr>
              <a:cxnSpLocks/>
              <a:stCxn id="75" idx="3"/>
              <a:endCxn id="88" idx="1"/>
            </p:cNvCxnSpPr>
            <p:nvPr/>
          </p:nvCxnSpPr>
          <p:spPr>
            <a:xfrm>
              <a:off x="4525069" y="4123072"/>
              <a:ext cx="86879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2C064154-623B-4E98-983C-C7AE2C04ECB5}"/>
                </a:ext>
              </a:extLst>
            </p:cNvPr>
            <p:cNvCxnSpPr>
              <a:stCxn id="33" idx="3"/>
              <a:endCxn id="75" idx="1"/>
            </p:cNvCxnSpPr>
            <p:nvPr/>
          </p:nvCxnSpPr>
          <p:spPr bwMode="auto">
            <a:xfrm>
              <a:off x="2430167" y="4123072"/>
              <a:ext cx="816814" cy="0"/>
            </a:xfrm>
            <a:prstGeom prst="line">
              <a:avLst/>
            </a:prstGeom>
            <a:ln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44530178-2989-43ED-8CC0-42F84C85694B}"/>
                </a:ext>
              </a:extLst>
            </p:cNvPr>
            <p:cNvSpPr/>
            <p:nvPr/>
          </p:nvSpPr>
          <p:spPr>
            <a:xfrm>
              <a:off x="2928738" y="4483514"/>
              <a:ext cx="4087194" cy="138157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C209E82F-1047-4779-ABBA-1C2982209BC2}"/>
                </a:ext>
              </a:extLst>
            </p:cNvPr>
            <p:cNvSpPr/>
            <p:nvPr/>
          </p:nvSpPr>
          <p:spPr>
            <a:xfrm>
              <a:off x="4280835" y="4605065"/>
              <a:ext cx="1278089" cy="42219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ptimal Route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Calcul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CF64FA6B-3E16-43E1-9A13-7B1D218D7E13}"/>
                </a:ext>
              </a:extLst>
            </p:cNvPr>
            <p:cNvCxnSpPr>
              <a:cxnSpLocks/>
              <a:stCxn id="38" idx="3"/>
              <a:endCxn id="62" idx="1"/>
            </p:cNvCxnSpPr>
            <p:nvPr/>
          </p:nvCxnSpPr>
          <p:spPr>
            <a:xfrm>
              <a:off x="2430168" y="4816064"/>
              <a:ext cx="1850667" cy="1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3E0156F9-857F-4B3F-90CE-BCBAADF91623}"/>
                </a:ext>
              </a:extLst>
            </p:cNvPr>
            <p:cNvSpPr/>
            <p:nvPr/>
          </p:nvSpPr>
          <p:spPr>
            <a:xfrm>
              <a:off x="4943403" y="5347637"/>
              <a:ext cx="1278089" cy="3755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irections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Calcula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DBDCCC73-333F-4BC1-A52A-C16B0BB0A8BC}"/>
                </a:ext>
              </a:extLst>
            </p:cNvPr>
            <p:cNvSpPr/>
            <p:nvPr/>
          </p:nvSpPr>
          <p:spPr>
            <a:xfrm>
              <a:off x="3545665" y="5357404"/>
              <a:ext cx="1278089" cy="3755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istance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Calcula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16" name="Connector: Elbow 15">
              <a:extLst>
                <a:ext uri="{FF2B5EF4-FFF2-40B4-BE49-F238E27FC236}">
                  <a16:creationId xmlns:a16="http://schemas.microsoft.com/office/drawing/2014/main" id="{CA7E01E0-11AB-492A-A611-0A1C4DAD54E6}"/>
                </a:ext>
              </a:extLst>
            </p:cNvPr>
            <p:cNvCxnSpPr>
              <a:stCxn id="62" idx="2"/>
              <a:endCxn id="70" idx="0"/>
            </p:cNvCxnSpPr>
            <p:nvPr/>
          </p:nvCxnSpPr>
          <p:spPr bwMode="auto">
            <a:xfrm rot="5400000">
              <a:off x="4387224" y="4824748"/>
              <a:ext cx="330142" cy="735170"/>
            </a:xfrm>
            <a:prstGeom prst="bentConnector3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nector: Elbow 19">
              <a:extLst>
                <a:ext uri="{FF2B5EF4-FFF2-40B4-BE49-F238E27FC236}">
                  <a16:creationId xmlns:a16="http://schemas.microsoft.com/office/drawing/2014/main" id="{A74466F8-38EC-430C-8A88-A2DB79BC9726}"/>
                </a:ext>
              </a:extLst>
            </p:cNvPr>
            <p:cNvCxnSpPr>
              <a:cxnSpLocks/>
              <a:endCxn id="69" idx="0"/>
            </p:cNvCxnSpPr>
            <p:nvPr/>
          </p:nvCxnSpPr>
          <p:spPr bwMode="auto">
            <a:xfrm>
              <a:off x="4912340" y="5190410"/>
              <a:ext cx="670108" cy="157227"/>
            </a:xfrm>
            <a:prstGeom prst="bentConnector2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or: Elbow 25">
              <a:extLst>
                <a:ext uri="{FF2B5EF4-FFF2-40B4-BE49-F238E27FC236}">
                  <a16:creationId xmlns:a16="http://schemas.microsoft.com/office/drawing/2014/main" id="{49D69969-B7D8-4D7E-80F4-ADCFD7DDF7A0}"/>
                </a:ext>
              </a:extLst>
            </p:cNvPr>
            <p:cNvCxnSpPr>
              <a:stCxn id="67" idx="2"/>
              <a:endCxn id="75" idx="0"/>
            </p:cNvCxnSpPr>
            <p:nvPr/>
          </p:nvCxnSpPr>
          <p:spPr bwMode="auto">
            <a:xfrm rot="16200000" flipH="1">
              <a:off x="3563414" y="3593648"/>
              <a:ext cx="415705" cy="229518"/>
            </a:xfrm>
            <a:prstGeom prst="bentConnector3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22FF66D6-9984-43AC-9D05-C1EC883CD3F4}"/>
                </a:ext>
              </a:extLst>
            </p:cNvPr>
            <p:cNvSpPr/>
            <p:nvPr/>
          </p:nvSpPr>
          <p:spPr>
            <a:xfrm>
              <a:off x="2928738" y="5915471"/>
              <a:ext cx="4079654" cy="50843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282EA6F6-7F9E-460A-8CAB-C1AF1BB13A64}"/>
                </a:ext>
              </a:extLst>
            </p:cNvPr>
            <p:cNvSpPr/>
            <p:nvPr/>
          </p:nvSpPr>
          <p:spPr>
            <a:xfrm>
              <a:off x="3485840" y="6006613"/>
              <a:ext cx="2675827" cy="3342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oogle - Directions \ Distance API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80" name="Straight Arrow Connector 79">
              <a:extLst>
                <a:ext uri="{FF2B5EF4-FFF2-40B4-BE49-F238E27FC236}">
                  <a16:creationId xmlns:a16="http://schemas.microsoft.com/office/drawing/2014/main" id="{450A3BAA-0150-40BC-8195-9D789A2D342E}"/>
                </a:ext>
              </a:extLst>
            </p:cNvPr>
            <p:cNvCxnSpPr>
              <a:cxnSpLocks/>
              <a:stCxn id="70" idx="2"/>
            </p:cNvCxnSpPr>
            <p:nvPr/>
          </p:nvCxnSpPr>
          <p:spPr>
            <a:xfrm>
              <a:off x="4184710" y="5732929"/>
              <a:ext cx="0" cy="27368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B5AA862D-1A37-49B1-BA2A-B9F47E444171}"/>
                </a:ext>
              </a:extLst>
            </p:cNvPr>
            <p:cNvCxnSpPr>
              <a:cxnSpLocks/>
              <a:stCxn id="69" idx="2"/>
            </p:cNvCxnSpPr>
            <p:nvPr/>
          </p:nvCxnSpPr>
          <p:spPr>
            <a:xfrm>
              <a:off x="5582448" y="5723162"/>
              <a:ext cx="0" cy="29322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18C7B0D7-F1A5-4BF7-BB95-C4BE5A9D3B0C}"/>
                </a:ext>
              </a:extLst>
            </p:cNvPr>
            <p:cNvSpPr/>
            <p:nvPr/>
          </p:nvSpPr>
          <p:spPr>
            <a:xfrm rot="16200000">
              <a:off x="695339" y="2890734"/>
              <a:ext cx="1138901" cy="4136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istance Matrix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Pre-calcul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83" name="Connector: Elbow 82">
              <a:extLst>
                <a:ext uri="{FF2B5EF4-FFF2-40B4-BE49-F238E27FC236}">
                  <a16:creationId xmlns:a16="http://schemas.microsoft.com/office/drawing/2014/main" id="{7778C65A-5B95-4734-ABE5-CF36C0EADC42}"/>
                </a:ext>
              </a:extLst>
            </p:cNvPr>
            <p:cNvCxnSpPr>
              <a:cxnSpLocks/>
              <a:endCxn id="56" idx="1"/>
            </p:cNvCxnSpPr>
            <p:nvPr/>
          </p:nvCxnSpPr>
          <p:spPr bwMode="auto">
            <a:xfrm rot="16200000" flipH="1">
              <a:off x="661540" y="3349442"/>
              <a:ext cx="3075798" cy="2572802"/>
            </a:xfrm>
            <a:prstGeom prst="bentConnector2">
              <a:avLst/>
            </a:prstGeom>
            <a:ln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73523DBD-EE0B-4EB5-9DC1-590426C681C3}"/>
                </a:ext>
              </a:extLst>
            </p:cNvPr>
            <p:cNvCxnSpPr>
              <a:stCxn id="87" idx="0"/>
            </p:cNvCxnSpPr>
            <p:nvPr/>
          </p:nvCxnSpPr>
          <p:spPr bwMode="auto">
            <a:xfrm flipH="1">
              <a:off x="913037" y="3097545"/>
              <a:ext cx="144941" cy="0"/>
            </a:xfrm>
            <a:prstGeom prst="line">
              <a:avLst/>
            </a:prstGeom>
            <a:ln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2D10B620-B956-414A-861D-09225D6B1A47}"/>
                </a:ext>
              </a:extLst>
            </p:cNvPr>
            <p:cNvSpPr/>
            <p:nvPr/>
          </p:nvSpPr>
          <p:spPr>
            <a:xfrm>
              <a:off x="7053238" y="2353851"/>
              <a:ext cx="1469919" cy="351124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4AE66C56-6F33-40CC-BD9D-A0938E58822A}"/>
                </a:ext>
              </a:extLst>
            </p:cNvPr>
            <p:cNvSpPr txBox="1"/>
            <p:nvPr/>
          </p:nvSpPr>
          <p:spPr>
            <a:xfrm rot="16200000">
              <a:off x="6731222" y="3055149"/>
              <a:ext cx="1540398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Reset </a:t>
              </a:r>
            </a:p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- Filling level</a:t>
              </a:r>
              <a:b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- IoT Comp. St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1DBB10AF-970C-4B43-85C7-C95FA7AEFA69}"/>
                </a:ext>
              </a:extLst>
            </p:cNvPr>
            <p:cNvSpPr/>
            <p:nvPr/>
          </p:nvSpPr>
          <p:spPr>
            <a:xfrm>
              <a:off x="7142618" y="4604964"/>
              <a:ext cx="1278089" cy="42219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Visualize optimal Route </a:t>
              </a:r>
              <a:r>
                <a:rPr lang="de-CH" sz="80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in Map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A796D7C1-8D51-4B3D-A96E-CC8E86D242BC}"/>
                </a:ext>
              </a:extLst>
            </p:cNvPr>
            <p:cNvCxnSpPr>
              <a:cxnSpLocks/>
              <a:stCxn id="62" idx="3"/>
              <a:endCxn id="63" idx="1"/>
            </p:cNvCxnSpPr>
            <p:nvPr/>
          </p:nvCxnSpPr>
          <p:spPr>
            <a:xfrm flipV="1">
              <a:off x="5558924" y="4816063"/>
              <a:ext cx="1583694" cy="10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D7B763C1-04E8-4BAA-9F62-07E63F3FBB15}"/>
                </a:ext>
              </a:extLst>
            </p:cNvPr>
            <p:cNvCxnSpPr>
              <a:cxnSpLocks/>
              <a:stCxn id="61" idx="2"/>
              <a:endCxn id="63" idx="0"/>
            </p:cNvCxnSpPr>
            <p:nvPr/>
          </p:nvCxnSpPr>
          <p:spPr>
            <a:xfrm>
              <a:off x="7766987" y="2249497"/>
              <a:ext cx="14676" cy="2355467"/>
            </a:xfrm>
            <a:prstGeom prst="straightConnector1">
              <a:avLst/>
            </a:prstGeom>
            <a:ln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Arrow Connector 96">
              <a:extLst>
                <a:ext uri="{FF2B5EF4-FFF2-40B4-BE49-F238E27FC236}">
                  <a16:creationId xmlns:a16="http://schemas.microsoft.com/office/drawing/2014/main" id="{867763F8-7D1B-4157-8850-368C89231B70}"/>
                </a:ext>
              </a:extLst>
            </p:cNvPr>
            <p:cNvCxnSpPr>
              <a:cxnSpLocks/>
              <a:stCxn id="87" idx="2"/>
            </p:cNvCxnSpPr>
            <p:nvPr/>
          </p:nvCxnSpPr>
          <p:spPr>
            <a:xfrm>
              <a:off x="1471601" y="3097545"/>
              <a:ext cx="319522" cy="0"/>
            </a:xfrm>
            <a:prstGeom prst="straightConnector1">
              <a:avLst/>
            </a:prstGeom>
            <a:ln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37507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" name="Group 102">
            <a:extLst>
              <a:ext uri="{FF2B5EF4-FFF2-40B4-BE49-F238E27FC236}">
                <a16:creationId xmlns:a16="http://schemas.microsoft.com/office/drawing/2014/main" id="{B077BCEE-1ACF-48EA-AD5D-462A27E89780}"/>
              </a:ext>
            </a:extLst>
          </p:cNvPr>
          <p:cNvGrpSpPr/>
          <p:nvPr/>
        </p:nvGrpSpPr>
        <p:grpSpPr>
          <a:xfrm>
            <a:off x="659103" y="949584"/>
            <a:ext cx="7958424" cy="5647296"/>
            <a:chOff x="659103" y="949584"/>
            <a:chExt cx="7958424" cy="5647296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C3AE51B-4FBF-4552-AA20-E638E7FA1772}"/>
                </a:ext>
              </a:extLst>
            </p:cNvPr>
            <p:cNvSpPr/>
            <p:nvPr/>
          </p:nvSpPr>
          <p:spPr>
            <a:xfrm>
              <a:off x="659103" y="949584"/>
              <a:ext cx="7958424" cy="5647296"/>
            </a:xfrm>
            <a:prstGeom prst="rect">
              <a:avLst/>
            </a:prstGeom>
            <a:solidFill>
              <a:schemeClr val="bg1"/>
            </a:solidFill>
            <a:ln w="158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F9F6430-C6A3-41D8-A605-A111468A4537}"/>
                </a:ext>
              </a:extLst>
            </p:cNvPr>
            <p:cNvSpPr/>
            <p:nvPr/>
          </p:nvSpPr>
          <p:spPr>
            <a:xfrm>
              <a:off x="798256" y="2347460"/>
              <a:ext cx="2078095" cy="351763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B603732-BD29-4B70-9EE4-65312A7243B8}"/>
                </a:ext>
              </a:extLst>
            </p:cNvPr>
            <p:cNvSpPr/>
            <p:nvPr/>
          </p:nvSpPr>
          <p:spPr>
            <a:xfrm>
              <a:off x="798256" y="1304923"/>
              <a:ext cx="7720903" cy="10102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52C4A0F-C1A2-47DA-8742-8A20C62D21A3}"/>
                </a:ext>
              </a:extLst>
            </p:cNvPr>
            <p:cNvSpPr/>
            <p:nvPr/>
          </p:nvSpPr>
          <p:spPr>
            <a:xfrm>
              <a:off x="1152079" y="3916260"/>
              <a:ext cx="1278088" cy="4136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ensor data </a:t>
              </a:r>
              <a:b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nalytics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DA3F7157-2D9D-4A39-A39C-D58CE677302A}"/>
                </a:ext>
              </a:extLst>
            </p:cNvPr>
            <p:cNvGrpSpPr/>
            <p:nvPr/>
          </p:nvGrpSpPr>
          <p:grpSpPr>
            <a:xfrm>
              <a:off x="1409140" y="1368420"/>
              <a:ext cx="856326" cy="881077"/>
              <a:chOff x="5181600" y="2057400"/>
              <a:chExt cx="914400" cy="1210361"/>
            </a:xfrm>
          </p:grpSpPr>
          <p:pic>
            <p:nvPicPr>
              <p:cNvPr id="52" name="Graphic 51" descr="Server with solid fill">
                <a:extLst>
                  <a:ext uri="{FF2B5EF4-FFF2-40B4-BE49-F238E27FC236}">
                    <a16:creationId xmlns:a16="http://schemas.microsoft.com/office/drawing/2014/main" id="{FA0B0BB1-8782-4157-88B2-52573968FC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541462D8-01A1-4B13-8B29-A1E8B41181D3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763767" cy="29596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Client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35081949-6001-4983-9DFE-DD27D2B674BE}"/>
                </a:ext>
              </a:extLst>
            </p:cNvPr>
            <p:cNvCxnSpPr>
              <a:cxnSpLocks/>
              <a:stCxn id="52" idx="3"/>
              <a:endCxn id="60" idx="1"/>
            </p:cNvCxnSpPr>
            <p:nvPr/>
          </p:nvCxnSpPr>
          <p:spPr>
            <a:xfrm>
              <a:off x="2265466" y="1701237"/>
              <a:ext cx="5095057" cy="0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BEEF263-B2CE-4A3A-937E-AA27FFAD33C7}"/>
                </a:ext>
              </a:extLst>
            </p:cNvPr>
            <p:cNvSpPr txBox="1"/>
            <p:nvPr/>
          </p:nvSpPr>
          <p:spPr>
            <a:xfrm>
              <a:off x="3655721" y="1468348"/>
              <a:ext cx="122180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ensor Data (JSON)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83C98139-68F2-4382-B1C0-D9BC4534E429}"/>
                </a:ext>
              </a:extLst>
            </p:cNvPr>
            <p:cNvSpPr/>
            <p:nvPr/>
          </p:nvSpPr>
          <p:spPr>
            <a:xfrm>
              <a:off x="1152079" y="4636043"/>
              <a:ext cx="1278089" cy="3600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eo Coordinates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Evaluation 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47169235-38F1-439A-87FB-A35ABD564994}"/>
                </a:ext>
              </a:extLst>
            </p:cNvPr>
            <p:cNvCxnSpPr>
              <a:cxnSpLocks/>
              <a:stCxn id="33" idx="2"/>
              <a:endCxn id="38" idx="0"/>
            </p:cNvCxnSpPr>
            <p:nvPr/>
          </p:nvCxnSpPr>
          <p:spPr>
            <a:xfrm>
              <a:off x="1791123" y="4329883"/>
              <a:ext cx="1" cy="30616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CC64E003-BF4D-4492-986C-F11AE389C35D}"/>
                </a:ext>
              </a:extLst>
            </p:cNvPr>
            <p:cNvSpPr txBox="1"/>
            <p:nvPr/>
          </p:nvSpPr>
          <p:spPr>
            <a:xfrm>
              <a:off x="737474" y="1052275"/>
              <a:ext cx="247650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Trash bin - Applica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F7F1B50-C9E6-42C2-84E5-EABE569CCF3F}"/>
                </a:ext>
              </a:extLst>
            </p:cNvPr>
            <p:cNvSpPr txBox="1"/>
            <p:nvPr/>
          </p:nvSpPr>
          <p:spPr>
            <a:xfrm>
              <a:off x="3655721" y="1706737"/>
              <a:ext cx="199445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Filling level / IoT Component St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2EF66B59-4290-4617-8C03-D6FFF2D69E34}"/>
                </a:ext>
              </a:extLst>
            </p:cNvPr>
            <p:cNvGrpSpPr/>
            <p:nvPr/>
          </p:nvGrpSpPr>
          <p:grpSpPr>
            <a:xfrm>
              <a:off x="7360523" y="1368420"/>
              <a:ext cx="856326" cy="881077"/>
              <a:chOff x="5181600" y="2057400"/>
              <a:chExt cx="914400" cy="1210361"/>
            </a:xfrm>
          </p:grpSpPr>
          <p:pic>
            <p:nvPicPr>
              <p:cNvPr id="60" name="Graphic 59" descr="Server with solid fill">
                <a:extLst>
                  <a:ext uri="{FF2B5EF4-FFF2-40B4-BE49-F238E27FC236}">
                    <a16:creationId xmlns:a16="http://schemas.microsoft.com/office/drawing/2014/main" id="{184BED0C-8F5A-4DB5-8AC9-731B8D576F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EE37D09E-ABFA-4792-B8C3-2575FC293596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809983" cy="29596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Server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2443DB29-6E06-4303-ADBF-5E5EF66DE6A3}"/>
                </a:ext>
              </a:extLst>
            </p:cNvPr>
            <p:cNvSpPr/>
            <p:nvPr/>
          </p:nvSpPr>
          <p:spPr>
            <a:xfrm>
              <a:off x="2921198" y="2347459"/>
              <a:ext cx="4087194" cy="210025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F1763B1-29F8-4061-AEC8-884BFF41775C}"/>
                </a:ext>
              </a:extLst>
            </p:cNvPr>
            <p:cNvGrpSpPr/>
            <p:nvPr/>
          </p:nvGrpSpPr>
          <p:grpSpPr>
            <a:xfrm>
              <a:off x="3213975" y="2471746"/>
              <a:ext cx="857870" cy="1028809"/>
              <a:chOff x="5181600" y="2057400"/>
              <a:chExt cx="916048" cy="1413304"/>
            </a:xfrm>
          </p:grpSpPr>
          <p:pic>
            <p:nvPicPr>
              <p:cNvPr id="66" name="Graphic 65" descr="Server with solid fill">
                <a:extLst>
                  <a:ext uri="{FF2B5EF4-FFF2-40B4-BE49-F238E27FC236}">
                    <a16:creationId xmlns:a16="http://schemas.microsoft.com/office/drawing/2014/main" id="{8F7DCF30-13CC-4C94-B342-49540DFD6A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636CFF45-8086-4525-BEF6-5087C4DE104D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887011" cy="49890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Stream </a:t>
                </a:r>
              </a:p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Consumer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35DEB4B4-9E6D-4792-8804-270C37B4E15D}"/>
                </a:ext>
              </a:extLst>
            </p:cNvPr>
            <p:cNvCxnSpPr>
              <a:cxnSpLocks/>
              <a:stCxn id="66" idx="3"/>
              <a:endCxn id="72" idx="1"/>
            </p:cNvCxnSpPr>
            <p:nvPr/>
          </p:nvCxnSpPr>
          <p:spPr>
            <a:xfrm flipV="1">
              <a:off x="4070302" y="2803871"/>
              <a:ext cx="1886104" cy="692"/>
            </a:xfrm>
            <a:prstGeom prst="straightConnector1">
              <a:avLst/>
            </a:prstGeom>
            <a:ln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7049FCD-F244-4B3C-AA89-A21238BE564B}"/>
                </a:ext>
              </a:extLst>
            </p:cNvPr>
            <p:cNvGrpSpPr/>
            <p:nvPr/>
          </p:nvGrpSpPr>
          <p:grpSpPr>
            <a:xfrm>
              <a:off x="5956406" y="2471054"/>
              <a:ext cx="857870" cy="1028808"/>
              <a:chOff x="5181600" y="2057400"/>
              <a:chExt cx="916047" cy="1413304"/>
            </a:xfrm>
          </p:grpSpPr>
          <p:pic>
            <p:nvPicPr>
              <p:cNvPr id="72" name="Graphic 71" descr="Server with solid fill">
                <a:extLst>
                  <a:ext uri="{FF2B5EF4-FFF2-40B4-BE49-F238E27FC236}">
                    <a16:creationId xmlns:a16="http://schemas.microsoft.com/office/drawing/2014/main" id="{782A2117-0BF8-417F-A2B4-1F613B7FEB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2CDED979-644D-40C6-9A4D-F39EA83C3975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887010" cy="49890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Stream </a:t>
                </a:r>
              </a:p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Producer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C2F9171E-6E9B-4100-B58B-B2EBC900FBF6}"/>
                </a:ext>
              </a:extLst>
            </p:cNvPr>
            <p:cNvCxnSpPr>
              <a:cxnSpLocks/>
              <a:stCxn id="53" idx="2"/>
              <a:endCxn id="33" idx="0"/>
            </p:cNvCxnSpPr>
            <p:nvPr/>
          </p:nvCxnSpPr>
          <p:spPr>
            <a:xfrm flipH="1">
              <a:off x="1791123" y="2249497"/>
              <a:ext cx="2840" cy="166676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1C595E47-9CF0-4FEE-A421-1E478AC8D9DB}"/>
                </a:ext>
              </a:extLst>
            </p:cNvPr>
            <p:cNvSpPr/>
            <p:nvPr/>
          </p:nvSpPr>
          <p:spPr>
            <a:xfrm>
              <a:off x="3246981" y="3916260"/>
              <a:ext cx="1278088" cy="41362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ensor data </a:t>
              </a:r>
              <a:b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tream Analytics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81775D60-3A98-4316-87A5-A9EBF60B00DB}"/>
                </a:ext>
              </a:extLst>
            </p:cNvPr>
            <p:cNvSpPr txBox="1"/>
            <p:nvPr/>
          </p:nvSpPr>
          <p:spPr>
            <a:xfrm>
              <a:off x="4092628" y="2583351"/>
              <a:ext cx="186781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24h Sensor Data Stream (JSON)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4CEFE013-6C92-4660-8F85-0B9C4F8C3A64}"/>
                </a:ext>
              </a:extLst>
            </p:cNvPr>
            <p:cNvSpPr txBox="1"/>
            <p:nvPr/>
          </p:nvSpPr>
          <p:spPr>
            <a:xfrm>
              <a:off x="4105201" y="2827950"/>
              <a:ext cx="199445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Filling level / IoT Component St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113E720B-80EB-4844-9712-4D79931275C1}"/>
                </a:ext>
              </a:extLst>
            </p:cNvPr>
            <p:cNvSpPr/>
            <p:nvPr/>
          </p:nvSpPr>
          <p:spPr>
            <a:xfrm>
              <a:off x="5393865" y="3916260"/>
              <a:ext cx="1278088" cy="41362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nalytics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ashboard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AA05739B-A194-4AB1-96FA-D70C9FF2606D}"/>
                </a:ext>
              </a:extLst>
            </p:cNvPr>
            <p:cNvCxnSpPr>
              <a:cxnSpLocks/>
              <a:stCxn id="75" idx="3"/>
              <a:endCxn id="88" idx="1"/>
            </p:cNvCxnSpPr>
            <p:nvPr/>
          </p:nvCxnSpPr>
          <p:spPr>
            <a:xfrm>
              <a:off x="4525069" y="4123072"/>
              <a:ext cx="86879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2C064154-623B-4E98-983C-C7AE2C04ECB5}"/>
                </a:ext>
              </a:extLst>
            </p:cNvPr>
            <p:cNvCxnSpPr>
              <a:stCxn id="33" idx="3"/>
              <a:endCxn id="75" idx="1"/>
            </p:cNvCxnSpPr>
            <p:nvPr/>
          </p:nvCxnSpPr>
          <p:spPr bwMode="auto">
            <a:xfrm>
              <a:off x="2430167" y="4123072"/>
              <a:ext cx="816814" cy="0"/>
            </a:xfrm>
            <a:prstGeom prst="line">
              <a:avLst/>
            </a:prstGeom>
            <a:ln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44530178-2989-43ED-8CC0-42F84C85694B}"/>
                </a:ext>
              </a:extLst>
            </p:cNvPr>
            <p:cNvSpPr/>
            <p:nvPr/>
          </p:nvSpPr>
          <p:spPr>
            <a:xfrm>
              <a:off x="2928738" y="4483514"/>
              <a:ext cx="4087194" cy="138157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C209E82F-1047-4779-ABBA-1C2982209BC2}"/>
                </a:ext>
              </a:extLst>
            </p:cNvPr>
            <p:cNvSpPr/>
            <p:nvPr/>
          </p:nvSpPr>
          <p:spPr>
            <a:xfrm>
              <a:off x="4280835" y="4605065"/>
              <a:ext cx="1278089" cy="42219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ptimal Route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Calcul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CF64FA6B-3E16-43E1-9A13-7B1D218D7E13}"/>
                </a:ext>
              </a:extLst>
            </p:cNvPr>
            <p:cNvCxnSpPr>
              <a:cxnSpLocks/>
              <a:stCxn id="38" idx="3"/>
              <a:endCxn id="62" idx="1"/>
            </p:cNvCxnSpPr>
            <p:nvPr/>
          </p:nvCxnSpPr>
          <p:spPr>
            <a:xfrm>
              <a:off x="2430168" y="4816064"/>
              <a:ext cx="1850667" cy="1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3E0156F9-857F-4B3F-90CE-BCBAADF91623}"/>
                </a:ext>
              </a:extLst>
            </p:cNvPr>
            <p:cNvSpPr/>
            <p:nvPr/>
          </p:nvSpPr>
          <p:spPr>
            <a:xfrm>
              <a:off x="4943403" y="5347637"/>
              <a:ext cx="1278089" cy="3755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irections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Calcula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DBDCCC73-333F-4BC1-A52A-C16B0BB0A8BC}"/>
                </a:ext>
              </a:extLst>
            </p:cNvPr>
            <p:cNvSpPr/>
            <p:nvPr/>
          </p:nvSpPr>
          <p:spPr>
            <a:xfrm>
              <a:off x="3545665" y="5357404"/>
              <a:ext cx="1278089" cy="3755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istance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Calcula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16" name="Connector: Elbow 15">
              <a:extLst>
                <a:ext uri="{FF2B5EF4-FFF2-40B4-BE49-F238E27FC236}">
                  <a16:creationId xmlns:a16="http://schemas.microsoft.com/office/drawing/2014/main" id="{CA7E01E0-11AB-492A-A611-0A1C4DAD54E6}"/>
                </a:ext>
              </a:extLst>
            </p:cNvPr>
            <p:cNvCxnSpPr>
              <a:stCxn id="62" idx="2"/>
              <a:endCxn id="70" idx="0"/>
            </p:cNvCxnSpPr>
            <p:nvPr/>
          </p:nvCxnSpPr>
          <p:spPr bwMode="auto">
            <a:xfrm rot="5400000">
              <a:off x="4387224" y="4824748"/>
              <a:ext cx="330142" cy="735170"/>
            </a:xfrm>
            <a:prstGeom prst="bentConnector3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nector: Elbow 19">
              <a:extLst>
                <a:ext uri="{FF2B5EF4-FFF2-40B4-BE49-F238E27FC236}">
                  <a16:creationId xmlns:a16="http://schemas.microsoft.com/office/drawing/2014/main" id="{A74466F8-38EC-430C-8A88-A2DB79BC9726}"/>
                </a:ext>
              </a:extLst>
            </p:cNvPr>
            <p:cNvCxnSpPr>
              <a:cxnSpLocks/>
              <a:endCxn id="69" idx="0"/>
            </p:cNvCxnSpPr>
            <p:nvPr/>
          </p:nvCxnSpPr>
          <p:spPr bwMode="auto">
            <a:xfrm>
              <a:off x="4912340" y="5190410"/>
              <a:ext cx="670108" cy="157227"/>
            </a:xfrm>
            <a:prstGeom prst="bentConnector2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or: Elbow 25">
              <a:extLst>
                <a:ext uri="{FF2B5EF4-FFF2-40B4-BE49-F238E27FC236}">
                  <a16:creationId xmlns:a16="http://schemas.microsoft.com/office/drawing/2014/main" id="{49D69969-B7D8-4D7E-80F4-ADCFD7DDF7A0}"/>
                </a:ext>
              </a:extLst>
            </p:cNvPr>
            <p:cNvCxnSpPr>
              <a:stCxn id="67" idx="2"/>
              <a:endCxn id="75" idx="0"/>
            </p:cNvCxnSpPr>
            <p:nvPr/>
          </p:nvCxnSpPr>
          <p:spPr bwMode="auto">
            <a:xfrm rot="16200000" flipH="1">
              <a:off x="3563414" y="3593648"/>
              <a:ext cx="415705" cy="229518"/>
            </a:xfrm>
            <a:prstGeom prst="bentConnector3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22FF66D6-9984-43AC-9D05-C1EC883CD3F4}"/>
                </a:ext>
              </a:extLst>
            </p:cNvPr>
            <p:cNvSpPr/>
            <p:nvPr/>
          </p:nvSpPr>
          <p:spPr>
            <a:xfrm>
              <a:off x="2928738" y="5915471"/>
              <a:ext cx="4079654" cy="50843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282EA6F6-7F9E-460A-8CAB-C1AF1BB13A64}"/>
                </a:ext>
              </a:extLst>
            </p:cNvPr>
            <p:cNvSpPr/>
            <p:nvPr/>
          </p:nvSpPr>
          <p:spPr>
            <a:xfrm>
              <a:off x="3485840" y="6006613"/>
              <a:ext cx="2675827" cy="3342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oogle - Directions \ Distance API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80" name="Straight Arrow Connector 79">
              <a:extLst>
                <a:ext uri="{FF2B5EF4-FFF2-40B4-BE49-F238E27FC236}">
                  <a16:creationId xmlns:a16="http://schemas.microsoft.com/office/drawing/2014/main" id="{450A3BAA-0150-40BC-8195-9D789A2D342E}"/>
                </a:ext>
              </a:extLst>
            </p:cNvPr>
            <p:cNvCxnSpPr>
              <a:cxnSpLocks/>
              <a:stCxn id="70" idx="2"/>
            </p:cNvCxnSpPr>
            <p:nvPr/>
          </p:nvCxnSpPr>
          <p:spPr>
            <a:xfrm>
              <a:off x="4184710" y="5732929"/>
              <a:ext cx="0" cy="27368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B5AA862D-1A37-49B1-BA2A-B9F47E444171}"/>
                </a:ext>
              </a:extLst>
            </p:cNvPr>
            <p:cNvCxnSpPr>
              <a:cxnSpLocks/>
              <a:stCxn id="69" idx="2"/>
            </p:cNvCxnSpPr>
            <p:nvPr/>
          </p:nvCxnSpPr>
          <p:spPr>
            <a:xfrm>
              <a:off x="5582448" y="5723162"/>
              <a:ext cx="0" cy="29322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18C7B0D7-F1A5-4BF7-BB95-C4BE5A9D3B0C}"/>
                </a:ext>
              </a:extLst>
            </p:cNvPr>
            <p:cNvSpPr/>
            <p:nvPr/>
          </p:nvSpPr>
          <p:spPr>
            <a:xfrm rot="16200000">
              <a:off x="695339" y="2890734"/>
              <a:ext cx="1138901" cy="4136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istance Matrix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Pre-calcul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83" name="Connector: Elbow 82">
              <a:extLst>
                <a:ext uri="{FF2B5EF4-FFF2-40B4-BE49-F238E27FC236}">
                  <a16:creationId xmlns:a16="http://schemas.microsoft.com/office/drawing/2014/main" id="{7778C65A-5B95-4734-ABE5-CF36C0EADC42}"/>
                </a:ext>
              </a:extLst>
            </p:cNvPr>
            <p:cNvCxnSpPr>
              <a:cxnSpLocks/>
              <a:endCxn id="56" idx="1"/>
            </p:cNvCxnSpPr>
            <p:nvPr/>
          </p:nvCxnSpPr>
          <p:spPr bwMode="auto">
            <a:xfrm rot="16200000" flipH="1">
              <a:off x="661540" y="3349442"/>
              <a:ext cx="3075798" cy="2572802"/>
            </a:xfrm>
            <a:prstGeom prst="bentConnector2">
              <a:avLst/>
            </a:prstGeom>
            <a:ln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73523DBD-EE0B-4EB5-9DC1-590426C681C3}"/>
                </a:ext>
              </a:extLst>
            </p:cNvPr>
            <p:cNvCxnSpPr>
              <a:stCxn id="87" idx="0"/>
            </p:cNvCxnSpPr>
            <p:nvPr/>
          </p:nvCxnSpPr>
          <p:spPr bwMode="auto">
            <a:xfrm flipH="1">
              <a:off x="913037" y="3097545"/>
              <a:ext cx="144941" cy="0"/>
            </a:xfrm>
            <a:prstGeom prst="line">
              <a:avLst/>
            </a:prstGeom>
            <a:ln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2D10B620-B956-414A-861D-09225D6B1A47}"/>
                </a:ext>
              </a:extLst>
            </p:cNvPr>
            <p:cNvSpPr/>
            <p:nvPr/>
          </p:nvSpPr>
          <p:spPr>
            <a:xfrm>
              <a:off x="7053238" y="2353851"/>
              <a:ext cx="1469919" cy="351124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4AE66C56-6F33-40CC-BD9D-A0938E58822A}"/>
                </a:ext>
              </a:extLst>
            </p:cNvPr>
            <p:cNvSpPr txBox="1"/>
            <p:nvPr/>
          </p:nvSpPr>
          <p:spPr>
            <a:xfrm rot="16200000">
              <a:off x="6731222" y="3055149"/>
              <a:ext cx="1540398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Reset </a:t>
              </a:r>
            </a:p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- Filling level</a:t>
              </a:r>
              <a:b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- IoT Comp. St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1DBB10AF-970C-4B43-85C7-C95FA7AEFA69}"/>
                </a:ext>
              </a:extLst>
            </p:cNvPr>
            <p:cNvSpPr/>
            <p:nvPr/>
          </p:nvSpPr>
          <p:spPr>
            <a:xfrm>
              <a:off x="7142618" y="4604964"/>
              <a:ext cx="1278089" cy="42219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Visualize optimal Route </a:t>
              </a:r>
              <a:r>
                <a:rPr lang="de-CH" sz="80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in Map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A796D7C1-8D51-4B3D-A96E-CC8E86D242BC}"/>
                </a:ext>
              </a:extLst>
            </p:cNvPr>
            <p:cNvCxnSpPr>
              <a:cxnSpLocks/>
              <a:stCxn id="62" idx="3"/>
              <a:endCxn id="63" idx="1"/>
            </p:cNvCxnSpPr>
            <p:nvPr/>
          </p:nvCxnSpPr>
          <p:spPr>
            <a:xfrm flipV="1">
              <a:off x="5558924" y="4816063"/>
              <a:ext cx="1583694" cy="10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D7B763C1-04E8-4BAA-9F62-07E63F3FBB15}"/>
                </a:ext>
              </a:extLst>
            </p:cNvPr>
            <p:cNvCxnSpPr>
              <a:cxnSpLocks/>
              <a:stCxn id="61" idx="2"/>
              <a:endCxn id="63" idx="0"/>
            </p:cNvCxnSpPr>
            <p:nvPr/>
          </p:nvCxnSpPr>
          <p:spPr>
            <a:xfrm>
              <a:off x="7766987" y="2249497"/>
              <a:ext cx="14676" cy="2355467"/>
            </a:xfrm>
            <a:prstGeom prst="straightConnector1">
              <a:avLst/>
            </a:prstGeom>
            <a:ln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Arrow Connector 96">
              <a:extLst>
                <a:ext uri="{FF2B5EF4-FFF2-40B4-BE49-F238E27FC236}">
                  <a16:creationId xmlns:a16="http://schemas.microsoft.com/office/drawing/2014/main" id="{867763F8-7D1B-4157-8850-368C89231B70}"/>
                </a:ext>
              </a:extLst>
            </p:cNvPr>
            <p:cNvCxnSpPr>
              <a:cxnSpLocks/>
              <a:stCxn id="87" idx="2"/>
            </p:cNvCxnSpPr>
            <p:nvPr/>
          </p:nvCxnSpPr>
          <p:spPr>
            <a:xfrm>
              <a:off x="1471601" y="3097545"/>
              <a:ext cx="319522" cy="0"/>
            </a:xfrm>
            <a:prstGeom prst="straightConnector1">
              <a:avLst/>
            </a:prstGeom>
            <a:ln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803802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" name="Group 102">
            <a:extLst>
              <a:ext uri="{FF2B5EF4-FFF2-40B4-BE49-F238E27FC236}">
                <a16:creationId xmlns:a16="http://schemas.microsoft.com/office/drawing/2014/main" id="{B077BCEE-1ACF-48EA-AD5D-462A27E89780}"/>
              </a:ext>
            </a:extLst>
          </p:cNvPr>
          <p:cNvGrpSpPr/>
          <p:nvPr/>
        </p:nvGrpSpPr>
        <p:grpSpPr>
          <a:xfrm>
            <a:off x="659103" y="949584"/>
            <a:ext cx="7958424" cy="5647296"/>
            <a:chOff x="659103" y="949584"/>
            <a:chExt cx="7958424" cy="5647296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C3AE51B-4FBF-4552-AA20-E638E7FA1772}"/>
                </a:ext>
              </a:extLst>
            </p:cNvPr>
            <p:cNvSpPr/>
            <p:nvPr/>
          </p:nvSpPr>
          <p:spPr>
            <a:xfrm>
              <a:off x="659103" y="949584"/>
              <a:ext cx="7958424" cy="5647296"/>
            </a:xfrm>
            <a:prstGeom prst="rect">
              <a:avLst/>
            </a:prstGeom>
            <a:solidFill>
              <a:schemeClr val="bg1"/>
            </a:solidFill>
            <a:ln w="158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F9F6430-C6A3-41D8-A605-A111468A4537}"/>
                </a:ext>
              </a:extLst>
            </p:cNvPr>
            <p:cNvSpPr/>
            <p:nvPr/>
          </p:nvSpPr>
          <p:spPr>
            <a:xfrm>
              <a:off x="798256" y="2347460"/>
              <a:ext cx="2078095" cy="351763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B603732-BD29-4B70-9EE4-65312A7243B8}"/>
                </a:ext>
              </a:extLst>
            </p:cNvPr>
            <p:cNvSpPr/>
            <p:nvPr/>
          </p:nvSpPr>
          <p:spPr>
            <a:xfrm>
              <a:off x="798256" y="1304923"/>
              <a:ext cx="7720903" cy="10102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52C4A0F-C1A2-47DA-8742-8A20C62D21A3}"/>
                </a:ext>
              </a:extLst>
            </p:cNvPr>
            <p:cNvSpPr/>
            <p:nvPr/>
          </p:nvSpPr>
          <p:spPr>
            <a:xfrm>
              <a:off x="1152079" y="3916260"/>
              <a:ext cx="1278088" cy="41362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ensor data </a:t>
              </a:r>
              <a:b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nalytics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DA3F7157-2D9D-4A39-A39C-D58CE677302A}"/>
                </a:ext>
              </a:extLst>
            </p:cNvPr>
            <p:cNvGrpSpPr/>
            <p:nvPr/>
          </p:nvGrpSpPr>
          <p:grpSpPr>
            <a:xfrm>
              <a:off x="1409140" y="1368420"/>
              <a:ext cx="856326" cy="881077"/>
              <a:chOff x="5181600" y="2057400"/>
              <a:chExt cx="914400" cy="1210361"/>
            </a:xfrm>
          </p:grpSpPr>
          <p:pic>
            <p:nvPicPr>
              <p:cNvPr id="52" name="Graphic 51" descr="Server with solid fill">
                <a:extLst>
                  <a:ext uri="{FF2B5EF4-FFF2-40B4-BE49-F238E27FC236}">
                    <a16:creationId xmlns:a16="http://schemas.microsoft.com/office/drawing/2014/main" id="{FA0B0BB1-8782-4157-88B2-52573968FC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541462D8-01A1-4B13-8B29-A1E8B41181D3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763767" cy="29596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Client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35081949-6001-4983-9DFE-DD27D2B674BE}"/>
                </a:ext>
              </a:extLst>
            </p:cNvPr>
            <p:cNvCxnSpPr>
              <a:cxnSpLocks/>
              <a:stCxn id="52" idx="3"/>
              <a:endCxn id="60" idx="1"/>
            </p:cNvCxnSpPr>
            <p:nvPr/>
          </p:nvCxnSpPr>
          <p:spPr>
            <a:xfrm>
              <a:off x="2265466" y="1701237"/>
              <a:ext cx="5095057" cy="0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BEEF263-B2CE-4A3A-937E-AA27FFAD33C7}"/>
                </a:ext>
              </a:extLst>
            </p:cNvPr>
            <p:cNvSpPr txBox="1"/>
            <p:nvPr/>
          </p:nvSpPr>
          <p:spPr>
            <a:xfrm>
              <a:off x="3655721" y="1468348"/>
              <a:ext cx="122180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ensor Data (JSON)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83C98139-68F2-4382-B1C0-D9BC4534E429}"/>
                </a:ext>
              </a:extLst>
            </p:cNvPr>
            <p:cNvSpPr/>
            <p:nvPr/>
          </p:nvSpPr>
          <p:spPr>
            <a:xfrm>
              <a:off x="1152079" y="4636043"/>
              <a:ext cx="1278089" cy="36004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eo Coordinates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Evaluation 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47169235-38F1-439A-87FB-A35ABD564994}"/>
                </a:ext>
              </a:extLst>
            </p:cNvPr>
            <p:cNvCxnSpPr>
              <a:cxnSpLocks/>
              <a:stCxn id="33" idx="2"/>
              <a:endCxn id="38" idx="0"/>
            </p:cNvCxnSpPr>
            <p:nvPr/>
          </p:nvCxnSpPr>
          <p:spPr>
            <a:xfrm>
              <a:off x="1791123" y="4329883"/>
              <a:ext cx="1" cy="30616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CC64E003-BF4D-4492-986C-F11AE389C35D}"/>
                </a:ext>
              </a:extLst>
            </p:cNvPr>
            <p:cNvSpPr txBox="1"/>
            <p:nvPr/>
          </p:nvSpPr>
          <p:spPr>
            <a:xfrm>
              <a:off x="737474" y="1052275"/>
              <a:ext cx="247650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Trash bin - Applica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F7F1B50-C9E6-42C2-84E5-EABE569CCF3F}"/>
                </a:ext>
              </a:extLst>
            </p:cNvPr>
            <p:cNvSpPr txBox="1"/>
            <p:nvPr/>
          </p:nvSpPr>
          <p:spPr>
            <a:xfrm>
              <a:off x="3655721" y="1706737"/>
              <a:ext cx="199445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Filling level / IoT Component St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2EF66B59-4290-4617-8C03-D6FFF2D69E34}"/>
                </a:ext>
              </a:extLst>
            </p:cNvPr>
            <p:cNvGrpSpPr/>
            <p:nvPr/>
          </p:nvGrpSpPr>
          <p:grpSpPr>
            <a:xfrm>
              <a:off x="7360523" y="1368420"/>
              <a:ext cx="856326" cy="881077"/>
              <a:chOff x="5181600" y="2057400"/>
              <a:chExt cx="914400" cy="1210361"/>
            </a:xfrm>
          </p:grpSpPr>
          <p:pic>
            <p:nvPicPr>
              <p:cNvPr id="60" name="Graphic 59" descr="Server with solid fill">
                <a:extLst>
                  <a:ext uri="{FF2B5EF4-FFF2-40B4-BE49-F238E27FC236}">
                    <a16:creationId xmlns:a16="http://schemas.microsoft.com/office/drawing/2014/main" id="{184BED0C-8F5A-4DB5-8AC9-731B8D576F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EE37D09E-ABFA-4792-B8C3-2575FC293596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809983" cy="29596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Server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2443DB29-6E06-4303-ADBF-5E5EF66DE6A3}"/>
                </a:ext>
              </a:extLst>
            </p:cNvPr>
            <p:cNvSpPr/>
            <p:nvPr/>
          </p:nvSpPr>
          <p:spPr>
            <a:xfrm>
              <a:off x="2921198" y="2347459"/>
              <a:ext cx="4087194" cy="210025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F1763B1-29F8-4061-AEC8-884BFF41775C}"/>
                </a:ext>
              </a:extLst>
            </p:cNvPr>
            <p:cNvGrpSpPr/>
            <p:nvPr/>
          </p:nvGrpSpPr>
          <p:grpSpPr>
            <a:xfrm>
              <a:off x="3213975" y="2471746"/>
              <a:ext cx="857870" cy="1028809"/>
              <a:chOff x="5181600" y="2057400"/>
              <a:chExt cx="916048" cy="1413304"/>
            </a:xfrm>
          </p:grpSpPr>
          <p:pic>
            <p:nvPicPr>
              <p:cNvPr id="66" name="Graphic 65" descr="Server with solid fill">
                <a:extLst>
                  <a:ext uri="{FF2B5EF4-FFF2-40B4-BE49-F238E27FC236}">
                    <a16:creationId xmlns:a16="http://schemas.microsoft.com/office/drawing/2014/main" id="{8F7DCF30-13CC-4C94-B342-49540DFD6A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636CFF45-8086-4525-BEF6-5087C4DE104D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887011" cy="49890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Stream </a:t>
                </a:r>
              </a:p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Consumer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35DEB4B4-9E6D-4792-8804-270C37B4E15D}"/>
                </a:ext>
              </a:extLst>
            </p:cNvPr>
            <p:cNvCxnSpPr>
              <a:cxnSpLocks/>
              <a:stCxn id="66" idx="3"/>
              <a:endCxn id="72" idx="1"/>
            </p:cNvCxnSpPr>
            <p:nvPr/>
          </p:nvCxnSpPr>
          <p:spPr>
            <a:xfrm flipV="1">
              <a:off x="4070302" y="2803871"/>
              <a:ext cx="1886104" cy="692"/>
            </a:xfrm>
            <a:prstGeom prst="straightConnector1">
              <a:avLst/>
            </a:prstGeom>
            <a:ln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7049FCD-F244-4B3C-AA89-A21238BE564B}"/>
                </a:ext>
              </a:extLst>
            </p:cNvPr>
            <p:cNvGrpSpPr/>
            <p:nvPr/>
          </p:nvGrpSpPr>
          <p:grpSpPr>
            <a:xfrm>
              <a:off x="5956406" y="2471054"/>
              <a:ext cx="857870" cy="1028808"/>
              <a:chOff x="5181600" y="2057400"/>
              <a:chExt cx="916047" cy="1413304"/>
            </a:xfrm>
          </p:grpSpPr>
          <p:pic>
            <p:nvPicPr>
              <p:cNvPr id="72" name="Graphic 71" descr="Server with solid fill">
                <a:extLst>
                  <a:ext uri="{FF2B5EF4-FFF2-40B4-BE49-F238E27FC236}">
                    <a16:creationId xmlns:a16="http://schemas.microsoft.com/office/drawing/2014/main" id="{782A2117-0BF8-417F-A2B4-1F613B7FEB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2CDED979-644D-40C6-9A4D-F39EA83C3975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887010" cy="49890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Stream </a:t>
                </a:r>
              </a:p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Producer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C2F9171E-6E9B-4100-B58B-B2EBC900FBF6}"/>
                </a:ext>
              </a:extLst>
            </p:cNvPr>
            <p:cNvCxnSpPr>
              <a:cxnSpLocks/>
              <a:stCxn id="53" idx="2"/>
              <a:endCxn id="33" idx="0"/>
            </p:cNvCxnSpPr>
            <p:nvPr/>
          </p:nvCxnSpPr>
          <p:spPr>
            <a:xfrm flipH="1">
              <a:off x="1791123" y="2249497"/>
              <a:ext cx="2840" cy="166676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1C595E47-9CF0-4FEE-A421-1E478AC8D9DB}"/>
                </a:ext>
              </a:extLst>
            </p:cNvPr>
            <p:cNvSpPr/>
            <p:nvPr/>
          </p:nvSpPr>
          <p:spPr>
            <a:xfrm>
              <a:off x="3246981" y="3916260"/>
              <a:ext cx="1278088" cy="4136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ensor data </a:t>
              </a:r>
              <a:b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tream Analytics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81775D60-3A98-4316-87A5-A9EBF60B00DB}"/>
                </a:ext>
              </a:extLst>
            </p:cNvPr>
            <p:cNvSpPr txBox="1"/>
            <p:nvPr/>
          </p:nvSpPr>
          <p:spPr>
            <a:xfrm>
              <a:off x="4092628" y="2583351"/>
              <a:ext cx="186781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24h Sensor Data Stream (JSON)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4CEFE013-6C92-4660-8F85-0B9C4F8C3A64}"/>
                </a:ext>
              </a:extLst>
            </p:cNvPr>
            <p:cNvSpPr txBox="1"/>
            <p:nvPr/>
          </p:nvSpPr>
          <p:spPr>
            <a:xfrm>
              <a:off x="4105201" y="2827950"/>
              <a:ext cx="199445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Filling level / IoT Component St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113E720B-80EB-4844-9712-4D79931275C1}"/>
                </a:ext>
              </a:extLst>
            </p:cNvPr>
            <p:cNvSpPr/>
            <p:nvPr/>
          </p:nvSpPr>
          <p:spPr>
            <a:xfrm>
              <a:off x="5393865" y="3916260"/>
              <a:ext cx="1278088" cy="4136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nalytics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ashboard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AA05739B-A194-4AB1-96FA-D70C9FF2606D}"/>
                </a:ext>
              </a:extLst>
            </p:cNvPr>
            <p:cNvCxnSpPr>
              <a:cxnSpLocks/>
              <a:stCxn id="75" idx="3"/>
              <a:endCxn id="88" idx="1"/>
            </p:cNvCxnSpPr>
            <p:nvPr/>
          </p:nvCxnSpPr>
          <p:spPr>
            <a:xfrm>
              <a:off x="4525069" y="4123072"/>
              <a:ext cx="86879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2C064154-623B-4E98-983C-C7AE2C04ECB5}"/>
                </a:ext>
              </a:extLst>
            </p:cNvPr>
            <p:cNvCxnSpPr>
              <a:stCxn id="33" idx="3"/>
              <a:endCxn id="75" idx="1"/>
            </p:cNvCxnSpPr>
            <p:nvPr/>
          </p:nvCxnSpPr>
          <p:spPr bwMode="auto">
            <a:xfrm>
              <a:off x="2430167" y="4123072"/>
              <a:ext cx="816814" cy="0"/>
            </a:xfrm>
            <a:prstGeom prst="line">
              <a:avLst/>
            </a:prstGeom>
            <a:ln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44530178-2989-43ED-8CC0-42F84C85694B}"/>
                </a:ext>
              </a:extLst>
            </p:cNvPr>
            <p:cNvSpPr/>
            <p:nvPr/>
          </p:nvSpPr>
          <p:spPr>
            <a:xfrm>
              <a:off x="2928738" y="4483514"/>
              <a:ext cx="4087194" cy="138157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C209E82F-1047-4779-ABBA-1C2982209BC2}"/>
                </a:ext>
              </a:extLst>
            </p:cNvPr>
            <p:cNvSpPr/>
            <p:nvPr/>
          </p:nvSpPr>
          <p:spPr>
            <a:xfrm>
              <a:off x="4280835" y="4605065"/>
              <a:ext cx="1278089" cy="42219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ptimal Route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Calcul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CF64FA6B-3E16-43E1-9A13-7B1D218D7E13}"/>
                </a:ext>
              </a:extLst>
            </p:cNvPr>
            <p:cNvCxnSpPr>
              <a:cxnSpLocks/>
              <a:stCxn id="38" idx="3"/>
              <a:endCxn id="62" idx="1"/>
            </p:cNvCxnSpPr>
            <p:nvPr/>
          </p:nvCxnSpPr>
          <p:spPr>
            <a:xfrm>
              <a:off x="2430168" y="4816064"/>
              <a:ext cx="1850667" cy="1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3E0156F9-857F-4B3F-90CE-BCBAADF91623}"/>
                </a:ext>
              </a:extLst>
            </p:cNvPr>
            <p:cNvSpPr/>
            <p:nvPr/>
          </p:nvSpPr>
          <p:spPr>
            <a:xfrm>
              <a:off x="4943403" y="5347637"/>
              <a:ext cx="1278089" cy="3755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irections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Calcula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DBDCCC73-333F-4BC1-A52A-C16B0BB0A8BC}"/>
                </a:ext>
              </a:extLst>
            </p:cNvPr>
            <p:cNvSpPr/>
            <p:nvPr/>
          </p:nvSpPr>
          <p:spPr>
            <a:xfrm>
              <a:off x="3545665" y="5357404"/>
              <a:ext cx="1278089" cy="3755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istance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Calcula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16" name="Connector: Elbow 15">
              <a:extLst>
                <a:ext uri="{FF2B5EF4-FFF2-40B4-BE49-F238E27FC236}">
                  <a16:creationId xmlns:a16="http://schemas.microsoft.com/office/drawing/2014/main" id="{CA7E01E0-11AB-492A-A611-0A1C4DAD54E6}"/>
                </a:ext>
              </a:extLst>
            </p:cNvPr>
            <p:cNvCxnSpPr>
              <a:stCxn id="62" idx="2"/>
              <a:endCxn id="70" idx="0"/>
            </p:cNvCxnSpPr>
            <p:nvPr/>
          </p:nvCxnSpPr>
          <p:spPr bwMode="auto">
            <a:xfrm rot="5400000">
              <a:off x="4387224" y="4824748"/>
              <a:ext cx="330142" cy="735170"/>
            </a:xfrm>
            <a:prstGeom prst="bentConnector3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nector: Elbow 19">
              <a:extLst>
                <a:ext uri="{FF2B5EF4-FFF2-40B4-BE49-F238E27FC236}">
                  <a16:creationId xmlns:a16="http://schemas.microsoft.com/office/drawing/2014/main" id="{A74466F8-38EC-430C-8A88-A2DB79BC9726}"/>
                </a:ext>
              </a:extLst>
            </p:cNvPr>
            <p:cNvCxnSpPr>
              <a:cxnSpLocks/>
              <a:endCxn id="69" idx="0"/>
            </p:cNvCxnSpPr>
            <p:nvPr/>
          </p:nvCxnSpPr>
          <p:spPr bwMode="auto">
            <a:xfrm>
              <a:off x="4912340" y="5190410"/>
              <a:ext cx="670108" cy="157227"/>
            </a:xfrm>
            <a:prstGeom prst="bentConnector2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or: Elbow 25">
              <a:extLst>
                <a:ext uri="{FF2B5EF4-FFF2-40B4-BE49-F238E27FC236}">
                  <a16:creationId xmlns:a16="http://schemas.microsoft.com/office/drawing/2014/main" id="{49D69969-B7D8-4D7E-80F4-ADCFD7DDF7A0}"/>
                </a:ext>
              </a:extLst>
            </p:cNvPr>
            <p:cNvCxnSpPr>
              <a:stCxn id="67" idx="2"/>
              <a:endCxn id="75" idx="0"/>
            </p:cNvCxnSpPr>
            <p:nvPr/>
          </p:nvCxnSpPr>
          <p:spPr bwMode="auto">
            <a:xfrm rot="16200000" flipH="1">
              <a:off x="3563414" y="3593648"/>
              <a:ext cx="415705" cy="229518"/>
            </a:xfrm>
            <a:prstGeom prst="bentConnector3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22FF66D6-9984-43AC-9D05-C1EC883CD3F4}"/>
                </a:ext>
              </a:extLst>
            </p:cNvPr>
            <p:cNvSpPr/>
            <p:nvPr/>
          </p:nvSpPr>
          <p:spPr>
            <a:xfrm>
              <a:off x="2928738" y="5915471"/>
              <a:ext cx="4079654" cy="50843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282EA6F6-7F9E-460A-8CAB-C1AF1BB13A64}"/>
                </a:ext>
              </a:extLst>
            </p:cNvPr>
            <p:cNvSpPr/>
            <p:nvPr/>
          </p:nvSpPr>
          <p:spPr>
            <a:xfrm>
              <a:off x="3485840" y="6006613"/>
              <a:ext cx="2675827" cy="334258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oogle - Directions \ Distance API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80" name="Straight Arrow Connector 79">
              <a:extLst>
                <a:ext uri="{FF2B5EF4-FFF2-40B4-BE49-F238E27FC236}">
                  <a16:creationId xmlns:a16="http://schemas.microsoft.com/office/drawing/2014/main" id="{450A3BAA-0150-40BC-8195-9D789A2D342E}"/>
                </a:ext>
              </a:extLst>
            </p:cNvPr>
            <p:cNvCxnSpPr>
              <a:cxnSpLocks/>
              <a:stCxn id="70" idx="2"/>
            </p:cNvCxnSpPr>
            <p:nvPr/>
          </p:nvCxnSpPr>
          <p:spPr>
            <a:xfrm>
              <a:off x="4184710" y="5732929"/>
              <a:ext cx="0" cy="27368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B5AA862D-1A37-49B1-BA2A-B9F47E444171}"/>
                </a:ext>
              </a:extLst>
            </p:cNvPr>
            <p:cNvCxnSpPr>
              <a:cxnSpLocks/>
              <a:stCxn id="69" idx="2"/>
            </p:cNvCxnSpPr>
            <p:nvPr/>
          </p:nvCxnSpPr>
          <p:spPr>
            <a:xfrm>
              <a:off x="5582448" y="5723162"/>
              <a:ext cx="0" cy="29322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18C7B0D7-F1A5-4BF7-BB95-C4BE5A9D3B0C}"/>
                </a:ext>
              </a:extLst>
            </p:cNvPr>
            <p:cNvSpPr/>
            <p:nvPr/>
          </p:nvSpPr>
          <p:spPr>
            <a:xfrm rot="16200000">
              <a:off x="695339" y="2890734"/>
              <a:ext cx="1138901" cy="41362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istance Matrix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Pre-calcul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83" name="Connector: Elbow 82">
              <a:extLst>
                <a:ext uri="{FF2B5EF4-FFF2-40B4-BE49-F238E27FC236}">
                  <a16:creationId xmlns:a16="http://schemas.microsoft.com/office/drawing/2014/main" id="{7778C65A-5B95-4734-ABE5-CF36C0EADC42}"/>
                </a:ext>
              </a:extLst>
            </p:cNvPr>
            <p:cNvCxnSpPr>
              <a:cxnSpLocks/>
              <a:endCxn id="56" idx="1"/>
            </p:cNvCxnSpPr>
            <p:nvPr/>
          </p:nvCxnSpPr>
          <p:spPr bwMode="auto">
            <a:xfrm rot="16200000" flipH="1">
              <a:off x="661540" y="3349442"/>
              <a:ext cx="3075798" cy="2572802"/>
            </a:xfrm>
            <a:prstGeom prst="bentConnector2">
              <a:avLst/>
            </a:prstGeom>
            <a:ln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73523DBD-EE0B-4EB5-9DC1-590426C681C3}"/>
                </a:ext>
              </a:extLst>
            </p:cNvPr>
            <p:cNvCxnSpPr>
              <a:stCxn id="87" idx="0"/>
            </p:cNvCxnSpPr>
            <p:nvPr/>
          </p:nvCxnSpPr>
          <p:spPr bwMode="auto">
            <a:xfrm flipH="1">
              <a:off x="913037" y="3097545"/>
              <a:ext cx="144941" cy="0"/>
            </a:xfrm>
            <a:prstGeom prst="line">
              <a:avLst/>
            </a:prstGeom>
            <a:ln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2D10B620-B956-414A-861D-09225D6B1A47}"/>
                </a:ext>
              </a:extLst>
            </p:cNvPr>
            <p:cNvSpPr/>
            <p:nvPr/>
          </p:nvSpPr>
          <p:spPr>
            <a:xfrm>
              <a:off x="7053238" y="2353851"/>
              <a:ext cx="1469919" cy="351124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4AE66C56-6F33-40CC-BD9D-A0938E58822A}"/>
                </a:ext>
              </a:extLst>
            </p:cNvPr>
            <p:cNvSpPr txBox="1"/>
            <p:nvPr/>
          </p:nvSpPr>
          <p:spPr>
            <a:xfrm rot="16200000">
              <a:off x="6731222" y="3055149"/>
              <a:ext cx="1540398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Reset </a:t>
              </a:r>
            </a:p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- Filling level</a:t>
              </a:r>
              <a:b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- IoT Comp. St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1DBB10AF-970C-4B43-85C7-C95FA7AEFA69}"/>
                </a:ext>
              </a:extLst>
            </p:cNvPr>
            <p:cNvSpPr/>
            <p:nvPr/>
          </p:nvSpPr>
          <p:spPr>
            <a:xfrm>
              <a:off x="7142618" y="4604964"/>
              <a:ext cx="1278089" cy="42219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Visualize optimal Route </a:t>
              </a:r>
              <a:r>
                <a:rPr lang="de-CH" sz="80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in Map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A796D7C1-8D51-4B3D-A96E-CC8E86D242BC}"/>
                </a:ext>
              </a:extLst>
            </p:cNvPr>
            <p:cNvCxnSpPr>
              <a:cxnSpLocks/>
              <a:stCxn id="62" idx="3"/>
              <a:endCxn id="63" idx="1"/>
            </p:cNvCxnSpPr>
            <p:nvPr/>
          </p:nvCxnSpPr>
          <p:spPr>
            <a:xfrm flipV="1">
              <a:off x="5558924" y="4816063"/>
              <a:ext cx="1583694" cy="10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D7B763C1-04E8-4BAA-9F62-07E63F3FBB15}"/>
                </a:ext>
              </a:extLst>
            </p:cNvPr>
            <p:cNvCxnSpPr>
              <a:cxnSpLocks/>
              <a:stCxn id="61" idx="2"/>
              <a:endCxn id="63" idx="0"/>
            </p:cNvCxnSpPr>
            <p:nvPr/>
          </p:nvCxnSpPr>
          <p:spPr>
            <a:xfrm>
              <a:off x="7766987" y="2249497"/>
              <a:ext cx="14676" cy="2355467"/>
            </a:xfrm>
            <a:prstGeom prst="straightConnector1">
              <a:avLst/>
            </a:prstGeom>
            <a:ln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Arrow Connector 96">
              <a:extLst>
                <a:ext uri="{FF2B5EF4-FFF2-40B4-BE49-F238E27FC236}">
                  <a16:creationId xmlns:a16="http://schemas.microsoft.com/office/drawing/2014/main" id="{867763F8-7D1B-4157-8850-368C89231B70}"/>
                </a:ext>
              </a:extLst>
            </p:cNvPr>
            <p:cNvCxnSpPr>
              <a:cxnSpLocks/>
              <a:stCxn id="87" idx="2"/>
            </p:cNvCxnSpPr>
            <p:nvPr/>
          </p:nvCxnSpPr>
          <p:spPr>
            <a:xfrm>
              <a:off x="1471601" y="3097545"/>
              <a:ext cx="319522" cy="0"/>
            </a:xfrm>
            <a:prstGeom prst="straightConnector1">
              <a:avLst/>
            </a:prstGeom>
            <a:ln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602472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" name="Group 102">
            <a:extLst>
              <a:ext uri="{FF2B5EF4-FFF2-40B4-BE49-F238E27FC236}">
                <a16:creationId xmlns:a16="http://schemas.microsoft.com/office/drawing/2014/main" id="{B077BCEE-1ACF-48EA-AD5D-462A27E89780}"/>
              </a:ext>
            </a:extLst>
          </p:cNvPr>
          <p:cNvGrpSpPr/>
          <p:nvPr/>
        </p:nvGrpSpPr>
        <p:grpSpPr>
          <a:xfrm>
            <a:off x="659103" y="949584"/>
            <a:ext cx="7958424" cy="5647296"/>
            <a:chOff x="659103" y="949584"/>
            <a:chExt cx="7958424" cy="5647296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C3AE51B-4FBF-4552-AA20-E638E7FA1772}"/>
                </a:ext>
              </a:extLst>
            </p:cNvPr>
            <p:cNvSpPr/>
            <p:nvPr/>
          </p:nvSpPr>
          <p:spPr>
            <a:xfrm>
              <a:off x="659103" y="949584"/>
              <a:ext cx="7958424" cy="5647296"/>
            </a:xfrm>
            <a:prstGeom prst="rect">
              <a:avLst/>
            </a:prstGeom>
            <a:solidFill>
              <a:schemeClr val="bg1"/>
            </a:solidFill>
            <a:ln w="158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F9F6430-C6A3-41D8-A605-A111468A4537}"/>
                </a:ext>
              </a:extLst>
            </p:cNvPr>
            <p:cNvSpPr/>
            <p:nvPr/>
          </p:nvSpPr>
          <p:spPr>
            <a:xfrm>
              <a:off x="798256" y="2347460"/>
              <a:ext cx="2078095" cy="351763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B603732-BD29-4B70-9EE4-65312A7243B8}"/>
                </a:ext>
              </a:extLst>
            </p:cNvPr>
            <p:cNvSpPr/>
            <p:nvPr/>
          </p:nvSpPr>
          <p:spPr>
            <a:xfrm>
              <a:off x="798256" y="1304923"/>
              <a:ext cx="7720903" cy="10102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52C4A0F-C1A2-47DA-8742-8A20C62D21A3}"/>
                </a:ext>
              </a:extLst>
            </p:cNvPr>
            <p:cNvSpPr/>
            <p:nvPr/>
          </p:nvSpPr>
          <p:spPr>
            <a:xfrm>
              <a:off x="1152079" y="3916260"/>
              <a:ext cx="1278088" cy="4136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ensor data </a:t>
              </a:r>
              <a:b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nalytics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DA3F7157-2D9D-4A39-A39C-D58CE677302A}"/>
                </a:ext>
              </a:extLst>
            </p:cNvPr>
            <p:cNvGrpSpPr/>
            <p:nvPr/>
          </p:nvGrpSpPr>
          <p:grpSpPr>
            <a:xfrm>
              <a:off x="1409140" y="1368420"/>
              <a:ext cx="856326" cy="881077"/>
              <a:chOff x="5181600" y="2057400"/>
              <a:chExt cx="914400" cy="1210361"/>
            </a:xfrm>
          </p:grpSpPr>
          <p:pic>
            <p:nvPicPr>
              <p:cNvPr id="52" name="Graphic 51" descr="Server with solid fill">
                <a:extLst>
                  <a:ext uri="{FF2B5EF4-FFF2-40B4-BE49-F238E27FC236}">
                    <a16:creationId xmlns:a16="http://schemas.microsoft.com/office/drawing/2014/main" id="{FA0B0BB1-8782-4157-88B2-52573968FC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541462D8-01A1-4B13-8B29-A1E8B41181D3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763767" cy="29596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Client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35081949-6001-4983-9DFE-DD27D2B674BE}"/>
                </a:ext>
              </a:extLst>
            </p:cNvPr>
            <p:cNvCxnSpPr>
              <a:cxnSpLocks/>
              <a:stCxn id="52" idx="3"/>
              <a:endCxn id="60" idx="1"/>
            </p:cNvCxnSpPr>
            <p:nvPr/>
          </p:nvCxnSpPr>
          <p:spPr>
            <a:xfrm>
              <a:off x="2265466" y="1701237"/>
              <a:ext cx="5095057" cy="0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BEEF263-B2CE-4A3A-937E-AA27FFAD33C7}"/>
                </a:ext>
              </a:extLst>
            </p:cNvPr>
            <p:cNvSpPr txBox="1"/>
            <p:nvPr/>
          </p:nvSpPr>
          <p:spPr>
            <a:xfrm>
              <a:off x="3655721" y="1468348"/>
              <a:ext cx="122180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ensor Data (JSON)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83C98139-68F2-4382-B1C0-D9BC4534E429}"/>
                </a:ext>
              </a:extLst>
            </p:cNvPr>
            <p:cNvSpPr/>
            <p:nvPr/>
          </p:nvSpPr>
          <p:spPr>
            <a:xfrm>
              <a:off x="1152079" y="4636043"/>
              <a:ext cx="1278089" cy="3600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eo Coordinates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Evaluation 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47169235-38F1-439A-87FB-A35ABD564994}"/>
                </a:ext>
              </a:extLst>
            </p:cNvPr>
            <p:cNvCxnSpPr>
              <a:cxnSpLocks/>
              <a:stCxn id="33" idx="2"/>
              <a:endCxn id="38" idx="0"/>
            </p:cNvCxnSpPr>
            <p:nvPr/>
          </p:nvCxnSpPr>
          <p:spPr>
            <a:xfrm>
              <a:off x="1791123" y="4329883"/>
              <a:ext cx="1" cy="30616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CC64E003-BF4D-4492-986C-F11AE389C35D}"/>
                </a:ext>
              </a:extLst>
            </p:cNvPr>
            <p:cNvSpPr txBox="1"/>
            <p:nvPr/>
          </p:nvSpPr>
          <p:spPr>
            <a:xfrm>
              <a:off x="737474" y="1052275"/>
              <a:ext cx="247650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Trash bin - Applica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F7F1B50-C9E6-42C2-84E5-EABE569CCF3F}"/>
                </a:ext>
              </a:extLst>
            </p:cNvPr>
            <p:cNvSpPr txBox="1"/>
            <p:nvPr/>
          </p:nvSpPr>
          <p:spPr>
            <a:xfrm>
              <a:off x="3655721" y="1706737"/>
              <a:ext cx="199445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Filling level / IoT Component St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2EF66B59-4290-4617-8C03-D6FFF2D69E34}"/>
                </a:ext>
              </a:extLst>
            </p:cNvPr>
            <p:cNvGrpSpPr/>
            <p:nvPr/>
          </p:nvGrpSpPr>
          <p:grpSpPr>
            <a:xfrm>
              <a:off x="7360523" y="1368420"/>
              <a:ext cx="856326" cy="881077"/>
              <a:chOff x="5181600" y="2057400"/>
              <a:chExt cx="914400" cy="1210361"/>
            </a:xfrm>
          </p:grpSpPr>
          <p:pic>
            <p:nvPicPr>
              <p:cNvPr id="60" name="Graphic 59" descr="Server with solid fill">
                <a:extLst>
                  <a:ext uri="{FF2B5EF4-FFF2-40B4-BE49-F238E27FC236}">
                    <a16:creationId xmlns:a16="http://schemas.microsoft.com/office/drawing/2014/main" id="{184BED0C-8F5A-4DB5-8AC9-731B8D576F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EE37D09E-ABFA-4792-B8C3-2575FC293596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809983" cy="29596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Server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2443DB29-6E06-4303-ADBF-5E5EF66DE6A3}"/>
                </a:ext>
              </a:extLst>
            </p:cNvPr>
            <p:cNvSpPr/>
            <p:nvPr/>
          </p:nvSpPr>
          <p:spPr>
            <a:xfrm>
              <a:off x="2921198" y="2347459"/>
              <a:ext cx="4087194" cy="210025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F1763B1-29F8-4061-AEC8-884BFF41775C}"/>
                </a:ext>
              </a:extLst>
            </p:cNvPr>
            <p:cNvGrpSpPr/>
            <p:nvPr/>
          </p:nvGrpSpPr>
          <p:grpSpPr>
            <a:xfrm>
              <a:off x="3213975" y="2471746"/>
              <a:ext cx="857870" cy="1028809"/>
              <a:chOff x="5181600" y="2057400"/>
              <a:chExt cx="916048" cy="1413304"/>
            </a:xfrm>
          </p:grpSpPr>
          <p:pic>
            <p:nvPicPr>
              <p:cNvPr id="66" name="Graphic 65" descr="Server with solid fill">
                <a:extLst>
                  <a:ext uri="{FF2B5EF4-FFF2-40B4-BE49-F238E27FC236}">
                    <a16:creationId xmlns:a16="http://schemas.microsoft.com/office/drawing/2014/main" id="{8F7DCF30-13CC-4C94-B342-49540DFD6A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636CFF45-8086-4525-BEF6-5087C4DE104D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887011" cy="49890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Stream </a:t>
                </a:r>
              </a:p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Consumer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35DEB4B4-9E6D-4792-8804-270C37B4E15D}"/>
                </a:ext>
              </a:extLst>
            </p:cNvPr>
            <p:cNvCxnSpPr>
              <a:cxnSpLocks/>
              <a:stCxn id="66" idx="3"/>
              <a:endCxn id="72" idx="1"/>
            </p:cNvCxnSpPr>
            <p:nvPr/>
          </p:nvCxnSpPr>
          <p:spPr>
            <a:xfrm flipV="1">
              <a:off x="4070302" y="2803871"/>
              <a:ext cx="1886104" cy="692"/>
            </a:xfrm>
            <a:prstGeom prst="straightConnector1">
              <a:avLst/>
            </a:prstGeom>
            <a:ln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7049FCD-F244-4B3C-AA89-A21238BE564B}"/>
                </a:ext>
              </a:extLst>
            </p:cNvPr>
            <p:cNvGrpSpPr/>
            <p:nvPr/>
          </p:nvGrpSpPr>
          <p:grpSpPr>
            <a:xfrm>
              <a:off x="5956406" y="2471054"/>
              <a:ext cx="857870" cy="1028808"/>
              <a:chOff x="5181600" y="2057400"/>
              <a:chExt cx="916047" cy="1413304"/>
            </a:xfrm>
          </p:grpSpPr>
          <p:pic>
            <p:nvPicPr>
              <p:cNvPr id="72" name="Graphic 71" descr="Server with solid fill">
                <a:extLst>
                  <a:ext uri="{FF2B5EF4-FFF2-40B4-BE49-F238E27FC236}">
                    <a16:creationId xmlns:a16="http://schemas.microsoft.com/office/drawing/2014/main" id="{782A2117-0BF8-417F-A2B4-1F613B7FEB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2CDED979-644D-40C6-9A4D-F39EA83C3975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887010" cy="49890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Stream </a:t>
                </a:r>
              </a:p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Producer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C2F9171E-6E9B-4100-B58B-B2EBC900FBF6}"/>
                </a:ext>
              </a:extLst>
            </p:cNvPr>
            <p:cNvCxnSpPr>
              <a:cxnSpLocks/>
              <a:stCxn id="53" idx="2"/>
              <a:endCxn id="33" idx="0"/>
            </p:cNvCxnSpPr>
            <p:nvPr/>
          </p:nvCxnSpPr>
          <p:spPr>
            <a:xfrm flipH="1">
              <a:off x="1791123" y="2249497"/>
              <a:ext cx="2840" cy="166676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1C595E47-9CF0-4FEE-A421-1E478AC8D9DB}"/>
                </a:ext>
              </a:extLst>
            </p:cNvPr>
            <p:cNvSpPr/>
            <p:nvPr/>
          </p:nvSpPr>
          <p:spPr>
            <a:xfrm>
              <a:off x="3246981" y="3916260"/>
              <a:ext cx="1278088" cy="4136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ensor data </a:t>
              </a:r>
              <a:b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tream Analytics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81775D60-3A98-4316-87A5-A9EBF60B00DB}"/>
                </a:ext>
              </a:extLst>
            </p:cNvPr>
            <p:cNvSpPr txBox="1"/>
            <p:nvPr/>
          </p:nvSpPr>
          <p:spPr>
            <a:xfrm>
              <a:off x="4092628" y="2583351"/>
              <a:ext cx="186781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24h Sensor Data Stream (JSON)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4CEFE013-6C92-4660-8F85-0B9C4F8C3A64}"/>
                </a:ext>
              </a:extLst>
            </p:cNvPr>
            <p:cNvSpPr txBox="1"/>
            <p:nvPr/>
          </p:nvSpPr>
          <p:spPr>
            <a:xfrm>
              <a:off x="4105201" y="2827950"/>
              <a:ext cx="199445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Filling level / IoT Component St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113E720B-80EB-4844-9712-4D79931275C1}"/>
                </a:ext>
              </a:extLst>
            </p:cNvPr>
            <p:cNvSpPr/>
            <p:nvPr/>
          </p:nvSpPr>
          <p:spPr>
            <a:xfrm>
              <a:off x="5393865" y="3916260"/>
              <a:ext cx="1278088" cy="4136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nalytics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ashboard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AA05739B-A194-4AB1-96FA-D70C9FF2606D}"/>
                </a:ext>
              </a:extLst>
            </p:cNvPr>
            <p:cNvCxnSpPr>
              <a:cxnSpLocks/>
              <a:stCxn id="75" idx="3"/>
              <a:endCxn id="88" idx="1"/>
            </p:cNvCxnSpPr>
            <p:nvPr/>
          </p:nvCxnSpPr>
          <p:spPr>
            <a:xfrm>
              <a:off x="4525069" y="4123072"/>
              <a:ext cx="86879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2C064154-623B-4E98-983C-C7AE2C04ECB5}"/>
                </a:ext>
              </a:extLst>
            </p:cNvPr>
            <p:cNvCxnSpPr>
              <a:stCxn id="33" idx="3"/>
              <a:endCxn id="75" idx="1"/>
            </p:cNvCxnSpPr>
            <p:nvPr/>
          </p:nvCxnSpPr>
          <p:spPr bwMode="auto">
            <a:xfrm>
              <a:off x="2430167" y="4123072"/>
              <a:ext cx="816814" cy="0"/>
            </a:xfrm>
            <a:prstGeom prst="line">
              <a:avLst/>
            </a:prstGeom>
            <a:ln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44530178-2989-43ED-8CC0-42F84C85694B}"/>
                </a:ext>
              </a:extLst>
            </p:cNvPr>
            <p:cNvSpPr/>
            <p:nvPr/>
          </p:nvSpPr>
          <p:spPr>
            <a:xfrm>
              <a:off x="2928738" y="4483514"/>
              <a:ext cx="4087194" cy="138157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C209E82F-1047-4779-ABBA-1C2982209BC2}"/>
                </a:ext>
              </a:extLst>
            </p:cNvPr>
            <p:cNvSpPr/>
            <p:nvPr/>
          </p:nvSpPr>
          <p:spPr>
            <a:xfrm>
              <a:off x="4280835" y="4605065"/>
              <a:ext cx="1278089" cy="422197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ptimal Route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Calcul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CF64FA6B-3E16-43E1-9A13-7B1D218D7E13}"/>
                </a:ext>
              </a:extLst>
            </p:cNvPr>
            <p:cNvCxnSpPr>
              <a:cxnSpLocks/>
              <a:stCxn id="38" idx="3"/>
              <a:endCxn id="62" idx="1"/>
            </p:cNvCxnSpPr>
            <p:nvPr/>
          </p:nvCxnSpPr>
          <p:spPr>
            <a:xfrm>
              <a:off x="2430168" y="4816064"/>
              <a:ext cx="1850667" cy="1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3E0156F9-857F-4B3F-90CE-BCBAADF91623}"/>
                </a:ext>
              </a:extLst>
            </p:cNvPr>
            <p:cNvSpPr/>
            <p:nvPr/>
          </p:nvSpPr>
          <p:spPr>
            <a:xfrm>
              <a:off x="4943403" y="5347637"/>
              <a:ext cx="1278089" cy="37552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irections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Calcula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DBDCCC73-333F-4BC1-A52A-C16B0BB0A8BC}"/>
                </a:ext>
              </a:extLst>
            </p:cNvPr>
            <p:cNvSpPr/>
            <p:nvPr/>
          </p:nvSpPr>
          <p:spPr>
            <a:xfrm>
              <a:off x="3545665" y="5357404"/>
              <a:ext cx="1278089" cy="37552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istance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Calcula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16" name="Connector: Elbow 15">
              <a:extLst>
                <a:ext uri="{FF2B5EF4-FFF2-40B4-BE49-F238E27FC236}">
                  <a16:creationId xmlns:a16="http://schemas.microsoft.com/office/drawing/2014/main" id="{CA7E01E0-11AB-492A-A611-0A1C4DAD54E6}"/>
                </a:ext>
              </a:extLst>
            </p:cNvPr>
            <p:cNvCxnSpPr>
              <a:stCxn id="62" idx="2"/>
              <a:endCxn id="70" idx="0"/>
            </p:cNvCxnSpPr>
            <p:nvPr/>
          </p:nvCxnSpPr>
          <p:spPr bwMode="auto">
            <a:xfrm rot="5400000">
              <a:off x="4387224" y="4824748"/>
              <a:ext cx="330142" cy="735170"/>
            </a:xfrm>
            <a:prstGeom prst="bentConnector3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nector: Elbow 19">
              <a:extLst>
                <a:ext uri="{FF2B5EF4-FFF2-40B4-BE49-F238E27FC236}">
                  <a16:creationId xmlns:a16="http://schemas.microsoft.com/office/drawing/2014/main" id="{A74466F8-38EC-430C-8A88-A2DB79BC9726}"/>
                </a:ext>
              </a:extLst>
            </p:cNvPr>
            <p:cNvCxnSpPr>
              <a:cxnSpLocks/>
              <a:endCxn id="69" idx="0"/>
            </p:cNvCxnSpPr>
            <p:nvPr/>
          </p:nvCxnSpPr>
          <p:spPr bwMode="auto">
            <a:xfrm>
              <a:off x="4912340" y="5190410"/>
              <a:ext cx="670108" cy="157227"/>
            </a:xfrm>
            <a:prstGeom prst="bentConnector2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or: Elbow 25">
              <a:extLst>
                <a:ext uri="{FF2B5EF4-FFF2-40B4-BE49-F238E27FC236}">
                  <a16:creationId xmlns:a16="http://schemas.microsoft.com/office/drawing/2014/main" id="{49D69969-B7D8-4D7E-80F4-ADCFD7DDF7A0}"/>
                </a:ext>
              </a:extLst>
            </p:cNvPr>
            <p:cNvCxnSpPr>
              <a:stCxn id="67" idx="2"/>
              <a:endCxn id="75" idx="0"/>
            </p:cNvCxnSpPr>
            <p:nvPr/>
          </p:nvCxnSpPr>
          <p:spPr bwMode="auto">
            <a:xfrm rot="16200000" flipH="1">
              <a:off x="3563414" y="3593648"/>
              <a:ext cx="415705" cy="229518"/>
            </a:xfrm>
            <a:prstGeom prst="bentConnector3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22FF66D6-9984-43AC-9D05-C1EC883CD3F4}"/>
                </a:ext>
              </a:extLst>
            </p:cNvPr>
            <p:cNvSpPr/>
            <p:nvPr/>
          </p:nvSpPr>
          <p:spPr>
            <a:xfrm>
              <a:off x="2928738" y="5915471"/>
              <a:ext cx="4079654" cy="50843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282EA6F6-7F9E-460A-8CAB-C1AF1BB13A64}"/>
                </a:ext>
              </a:extLst>
            </p:cNvPr>
            <p:cNvSpPr/>
            <p:nvPr/>
          </p:nvSpPr>
          <p:spPr>
            <a:xfrm>
              <a:off x="3485840" y="6006613"/>
              <a:ext cx="2675827" cy="334258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oogle - Directions \ Distance API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80" name="Straight Arrow Connector 79">
              <a:extLst>
                <a:ext uri="{FF2B5EF4-FFF2-40B4-BE49-F238E27FC236}">
                  <a16:creationId xmlns:a16="http://schemas.microsoft.com/office/drawing/2014/main" id="{450A3BAA-0150-40BC-8195-9D789A2D342E}"/>
                </a:ext>
              </a:extLst>
            </p:cNvPr>
            <p:cNvCxnSpPr>
              <a:cxnSpLocks/>
              <a:stCxn id="70" idx="2"/>
            </p:cNvCxnSpPr>
            <p:nvPr/>
          </p:nvCxnSpPr>
          <p:spPr>
            <a:xfrm>
              <a:off x="4184710" y="5732929"/>
              <a:ext cx="0" cy="27368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B5AA862D-1A37-49B1-BA2A-B9F47E444171}"/>
                </a:ext>
              </a:extLst>
            </p:cNvPr>
            <p:cNvCxnSpPr>
              <a:cxnSpLocks/>
              <a:stCxn id="69" idx="2"/>
            </p:cNvCxnSpPr>
            <p:nvPr/>
          </p:nvCxnSpPr>
          <p:spPr>
            <a:xfrm>
              <a:off x="5582448" y="5723162"/>
              <a:ext cx="0" cy="29322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18C7B0D7-F1A5-4BF7-BB95-C4BE5A9D3B0C}"/>
                </a:ext>
              </a:extLst>
            </p:cNvPr>
            <p:cNvSpPr/>
            <p:nvPr/>
          </p:nvSpPr>
          <p:spPr>
            <a:xfrm rot="16200000">
              <a:off x="695339" y="2890734"/>
              <a:ext cx="1138901" cy="4136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istance Matrix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Pre-calcul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83" name="Connector: Elbow 82">
              <a:extLst>
                <a:ext uri="{FF2B5EF4-FFF2-40B4-BE49-F238E27FC236}">
                  <a16:creationId xmlns:a16="http://schemas.microsoft.com/office/drawing/2014/main" id="{7778C65A-5B95-4734-ABE5-CF36C0EADC42}"/>
                </a:ext>
              </a:extLst>
            </p:cNvPr>
            <p:cNvCxnSpPr>
              <a:cxnSpLocks/>
              <a:endCxn id="56" idx="1"/>
            </p:cNvCxnSpPr>
            <p:nvPr/>
          </p:nvCxnSpPr>
          <p:spPr bwMode="auto">
            <a:xfrm rot="16200000" flipH="1">
              <a:off x="661540" y="3349442"/>
              <a:ext cx="3075798" cy="2572802"/>
            </a:xfrm>
            <a:prstGeom prst="bentConnector2">
              <a:avLst/>
            </a:prstGeom>
            <a:ln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73523DBD-EE0B-4EB5-9DC1-590426C681C3}"/>
                </a:ext>
              </a:extLst>
            </p:cNvPr>
            <p:cNvCxnSpPr>
              <a:stCxn id="87" idx="0"/>
            </p:cNvCxnSpPr>
            <p:nvPr/>
          </p:nvCxnSpPr>
          <p:spPr bwMode="auto">
            <a:xfrm flipH="1">
              <a:off x="913037" y="3097545"/>
              <a:ext cx="144941" cy="0"/>
            </a:xfrm>
            <a:prstGeom prst="line">
              <a:avLst/>
            </a:prstGeom>
            <a:ln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2D10B620-B956-414A-861D-09225D6B1A47}"/>
                </a:ext>
              </a:extLst>
            </p:cNvPr>
            <p:cNvSpPr/>
            <p:nvPr/>
          </p:nvSpPr>
          <p:spPr>
            <a:xfrm>
              <a:off x="7053238" y="2353851"/>
              <a:ext cx="1469919" cy="351124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4AE66C56-6F33-40CC-BD9D-A0938E58822A}"/>
                </a:ext>
              </a:extLst>
            </p:cNvPr>
            <p:cNvSpPr txBox="1"/>
            <p:nvPr/>
          </p:nvSpPr>
          <p:spPr>
            <a:xfrm rot="16200000">
              <a:off x="6731222" y="3055149"/>
              <a:ext cx="1540398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Reset </a:t>
              </a:r>
            </a:p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- Filling level</a:t>
              </a:r>
              <a:b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- IoT Comp. St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1DBB10AF-970C-4B43-85C7-C95FA7AEFA69}"/>
                </a:ext>
              </a:extLst>
            </p:cNvPr>
            <p:cNvSpPr/>
            <p:nvPr/>
          </p:nvSpPr>
          <p:spPr>
            <a:xfrm>
              <a:off x="7142618" y="4604964"/>
              <a:ext cx="1278089" cy="42219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Visualize optimal Route </a:t>
              </a:r>
              <a:r>
                <a:rPr lang="de-CH" sz="80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in Map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A796D7C1-8D51-4B3D-A96E-CC8E86D242BC}"/>
                </a:ext>
              </a:extLst>
            </p:cNvPr>
            <p:cNvCxnSpPr>
              <a:cxnSpLocks/>
              <a:stCxn id="62" idx="3"/>
              <a:endCxn id="63" idx="1"/>
            </p:cNvCxnSpPr>
            <p:nvPr/>
          </p:nvCxnSpPr>
          <p:spPr>
            <a:xfrm flipV="1">
              <a:off x="5558924" y="4816063"/>
              <a:ext cx="1583694" cy="10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D7B763C1-04E8-4BAA-9F62-07E63F3FBB15}"/>
                </a:ext>
              </a:extLst>
            </p:cNvPr>
            <p:cNvCxnSpPr>
              <a:cxnSpLocks/>
              <a:stCxn id="61" idx="2"/>
              <a:endCxn id="63" idx="0"/>
            </p:cNvCxnSpPr>
            <p:nvPr/>
          </p:nvCxnSpPr>
          <p:spPr>
            <a:xfrm>
              <a:off x="7766987" y="2249497"/>
              <a:ext cx="14676" cy="2355467"/>
            </a:xfrm>
            <a:prstGeom prst="straightConnector1">
              <a:avLst/>
            </a:prstGeom>
            <a:ln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Arrow Connector 96">
              <a:extLst>
                <a:ext uri="{FF2B5EF4-FFF2-40B4-BE49-F238E27FC236}">
                  <a16:creationId xmlns:a16="http://schemas.microsoft.com/office/drawing/2014/main" id="{867763F8-7D1B-4157-8850-368C89231B70}"/>
                </a:ext>
              </a:extLst>
            </p:cNvPr>
            <p:cNvCxnSpPr>
              <a:cxnSpLocks/>
              <a:stCxn id="87" idx="2"/>
            </p:cNvCxnSpPr>
            <p:nvPr/>
          </p:nvCxnSpPr>
          <p:spPr>
            <a:xfrm>
              <a:off x="1471601" y="3097545"/>
              <a:ext cx="319522" cy="0"/>
            </a:xfrm>
            <a:prstGeom prst="straightConnector1">
              <a:avLst/>
            </a:prstGeom>
            <a:ln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823861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" name="Group 102">
            <a:extLst>
              <a:ext uri="{FF2B5EF4-FFF2-40B4-BE49-F238E27FC236}">
                <a16:creationId xmlns:a16="http://schemas.microsoft.com/office/drawing/2014/main" id="{B077BCEE-1ACF-48EA-AD5D-462A27E89780}"/>
              </a:ext>
            </a:extLst>
          </p:cNvPr>
          <p:cNvGrpSpPr/>
          <p:nvPr/>
        </p:nvGrpSpPr>
        <p:grpSpPr>
          <a:xfrm>
            <a:off x="659103" y="949584"/>
            <a:ext cx="7958424" cy="5647296"/>
            <a:chOff x="659103" y="949584"/>
            <a:chExt cx="7958424" cy="5647296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C3AE51B-4FBF-4552-AA20-E638E7FA1772}"/>
                </a:ext>
              </a:extLst>
            </p:cNvPr>
            <p:cNvSpPr/>
            <p:nvPr/>
          </p:nvSpPr>
          <p:spPr>
            <a:xfrm>
              <a:off x="659103" y="949584"/>
              <a:ext cx="7958424" cy="5647296"/>
            </a:xfrm>
            <a:prstGeom prst="rect">
              <a:avLst/>
            </a:prstGeom>
            <a:solidFill>
              <a:schemeClr val="bg1"/>
            </a:solidFill>
            <a:ln w="158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F9F6430-C6A3-41D8-A605-A111468A4537}"/>
                </a:ext>
              </a:extLst>
            </p:cNvPr>
            <p:cNvSpPr/>
            <p:nvPr/>
          </p:nvSpPr>
          <p:spPr>
            <a:xfrm>
              <a:off x="798256" y="2347460"/>
              <a:ext cx="2078095" cy="351763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B603732-BD29-4B70-9EE4-65312A7243B8}"/>
                </a:ext>
              </a:extLst>
            </p:cNvPr>
            <p:cNvSpPr/>
            <p:nvPr/>
          </p:nvSpPr>
          <p:spPr>
            <a:xfrm>
              <a:off x="798256" y="1304923"/>
              <a:ext cx="7720903" cy="10102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52C4A0F-C1A2-47DA-8742-8A20C62D21A3}"/>
                </a:ext>
              </a:extLst>
            </p:cNvPr>
            <p:cNvSpPr/>
            <p:nvPr/>
          </p:nvSpPr>
          <p:spPr>
            <a:xfrm>
              <a:off x="1152079" y="3916260"/>
              <a:ext cx="1278088" cy="4136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ensor data </a:t>
              </a:r>
              <a:b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nalytics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DA3F7157-2D9D-4A39-A39C-D58CE677302A}"/>
                </a:ext>
              </a:extLst>
            </p:cNvPr>
            <p:cNvGrpSpPr/>
            <p:nvPr/>
          </p:nvGrpSpPr>
          <p:grpSpPr>
            <a:xfrm>
              <a:off x="1409140" y="1368420"/>
              <a:ext cx="856326" cy="881077"/>
              <a:chOff x="5181600" y="2057400"/>
              <a:chExt cx="914400" cy="1210361"/>
            </a:xfrm>
          </p:grpSpPr>
          <p:pic>
            <p:nvPicPr>
              <p:cNvPr id="52" name="Graphic 51" descr="Server with solid fill">
                <a:extLst>
                  <a:ext uri="{FF2B5EF4-FFF2-40B4-BE49-F238E27FC236}">
                    <a16:creationId xmlns:a16="http://schemas.microsoft.com/office/drawing/2014/main" id="{FA0B0BB1-8782-4157-88B2-52573968FC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541462D8-01A1-4B13-8B29-A1E8B41181D3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763767" cy="29596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Client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35081949-6001-4983-9DFE-DD27D2B674BE}"/>
                </a:ext>
              </a:extLst>
            </p:cNvPr>
            <p:cNvCxnSpPr>
              <a:cxnSpLocks/>
              <a:stCxn id="52" idx="3"/>
              <a:endCxn id="60" idx="1"/>
            </p:cNvCxnSpPr>
            <p:nvPr/>
          </p:nvCxnSpPr>
          <p:spPr>
            <a:xfrm>
              <a:off x="2265466" y="1701237"/>
              <a:ext cx="5095057" cy="0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BEEF263-B2CE-4A3A-937E-AA27FFAD33C7}"/>
                </a:ext>
              </a:extLst>
            </p:cNvPr>
            <p:cNvSpPr txBox="1"/>
            <p:nvPr/>
          </p:nvSpPr>
          <p:spPr>
            <a:xfrm>
              <a:off x="3655721" y="1468348"/>
              <a:ext cx="122180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ensor Data (JSON)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83C98139-68F2-4382-B1C0-D9BC4534E429}"/>
                </a:ext>
              </a:extLst>
            </p:cNvPr>
            <p:cNvSpPr/>
            <p:nvPr/>
          </p:nvSpPr>
          <p:spPr>
            <a:xfrm>
              <a:off x="1152079" y="4636043"/>
              <a:ext cx="1278089" cy="3600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eo Coordinates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Evaluation 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47169235-38F1-439A-87FB-A35ABD564994}"/>
                </a:ext>
              </a:extLst>
            </p:cNvPr>
            <p:cNvCxnSpPr>
              <a:cxnSpLocks/>
              <a:stCxn id="33" idx="2"/>
              <a:endCxn id="38" idx="0"/>
            </p:cNvCxnSpPr>
            <p:nvPr/>
          </p:nvCxnSpPr>
          <p:spPr>
            <a:xfrm>
              <a:off x="1791123" y="4329883"/>
              <a:ext cx="1" cy="30616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CC64E003-BF4D-4492-986C-F11AE389C35D}"/>
                </a:ext>
              </a:extLst>
            </p:cNvPr>
            <p:cNvSpPr txBox="1"/>
            <p:nvPr/>
          </p:nvSpPr>
          <p:spPr>
            <a:xfrm>
              <a:off x="737474" y="1052275"/>
              <a:ext cx="247650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Trash bin - Applica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F7F1B50-C9E6-42C2-84E5-EABE569CCF3F}"/>
                </a:ext>
              </a:extLst>
            </p:cNvPr>
            <p:cNvSpPr txBox="1"/>
            <p:nvPr/>
          </p:nvSpPr>
          <p:spPr>
            <a:xfrm>
              <a:off x="3655721" y="1706737"/>
              <a:ext cx="199445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Filling level / IoT Component St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2EF66B59-4290-4617-8C03-D6FFF2D69E34}"/>
                </a:ext>
              </a:extLst>
            </p:cNvPr>
            <p:cNvGrpSpPr/>
            <p:nvPr/>
          </p:nvGrpSpPr>
          <p:grpSpPr>
            <a:xfrm>
              <a:off x="7360523" y="1368420"/>
              <a:ext cx="856326" cy="881077"/>
              <a:chOff x="5181600" y="2057400"/>
              <a:chExt cx="914400" cy="1210361"/>
            </a:xfrm>
          </p:grpSpPr>
          <p:pic>
            <p:nvPicPr>
              <p:cNvPr id="60" name="Graphic 59" descr="Server with solid fill">
                <a:extLst>
                  <a:ext uri="{FF2B5EF4-FFF2-40B4-BE49-F238E27FC236}">
                    <a16:creationId xmlns:a16="http://schemas.microsoft.com/office/drawing/2014/main" id="{184BED0C-8F5A-4DB5-8AC9-731B8D576F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EE37D09E-ABFA-4792-B8C3-2575FC293596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809983" cy="29596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Server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2443DB29-6E06-4303-ADBF-5E5EF66DE6A3}"/>
                </a:ext>
              </a:extLst>
            </p:cNvPr>
            <p:cNvSpPr/>
            <p:nvPr/>
          </p:nvSpPr>
          <p:spPr>
            <a:xfrm>
              <a:off x="2921198" y="2347459"/>
              <a:ext cx="4087194" cy="210025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F1763B1-29F8-4061-AEC8-884BFF41775C}"/>
                </a:ext>
              </a:extLst>
            </p:cNvPr>
            <p:cNvGrpSpPr/>
            <p:nvPr/>
          </p:nvGrpSpPr>
          <p:grpSpPr>
            <a:xfrm>
              <a:off x="3213975" y="2471746"/>
              <a:ext cx="857870" cy="1028809"/>
              <a:chOff x="5181600" y="2057400"/>
              <a:chExt cx="916048" cy="1413304"/>
            </a:xfrm>
          </p:grpSpPr>
          <p:pic>
            <p:nvPicPr>
              <p:cNvPr id="66" name="Graphic 65" descr="Server with solid fill">
                <a:extLst>
                  <a:ext uri="{FF2B5EF4-FFF2-40B4-BE49-F238E27FC236}">
                    <a16:creationId xmlns:a16="http://schemas.microsoft.com/office/drawing/2014/main" id="{8F7DCF30-13CC-4C94-B342-49540DFD6A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636CFF45-8086-4525-BEF6-5087C4DE104D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887011" cy="49890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Stream </a:t>
                </a:r>
              </a:p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Consumer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35DEB4B4-9E6D-4792-8804-270C37B4E15D}"/>
                </a:ext>
              </a:extLst>
            </p:cNvPr>
            <p:cNvCxnSpPr>
              <a:cxnSpLocks/>
              <a:stCxn id="66" idx="3"/>
              <a:endCxn id="72" idx="1"/>
            </p:cNvCxnSpPr>
            <p:nvPr/>
          </p:nvCxnSpPr>
          <p:spPr>
            <a:xfrm flipV="1">
              <a:off x="4070302" y="2803871"/>
              <a:ext cx="1886104" cy="692"/>
            </a:xfrm>
            <a:prstGeom prst="straightConnector1">
              <a:avLst/>
            </a:prstGeom>
            <a:ln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7049FCD-F244-4B3C-AA89-A21238BE564B}"/>
                </a:ext>
              </a:extLst>
            </p:cNvPr>
            <p:cNvGrpSpPr/>
            <p:nvPr/>
          </p:nvGrpSpPr>
          <p:grpSpPr>
            <a:xfrm>
              <a:off x="5956406" y="2471054"/>
              <a:ext cx="857870" cy="1028808"/>
              <a:chOff x="5181600" y="2057400"/>
              <a:chExt cx="916047" cy="1413304"/>
            </a:xfrm>
          </p:grpSpPr>
          <p:pic>
            <p:nvPicPr>
              <p:cNvPr id="72" name="Graphic 71" descr="Server with solid fill">
                <a:extLst>
                  <a:ext uri="{FF2B5EF4-FFF2-40B4-BE49-F238E27FC236}">
                    <a16:creationId xmlns:a16="http://schemas.microsoft.com/office/drawing/2014/main" id="{782A2117-0BF8-417F-A2B4-1F613B7FEB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2CDED979-644D-40C6-9A4D-F39EA83C3975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887010" cy="49890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Stream </a:t>
                </a:r>
              </a:p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Producer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C2F9171E-6E9B-4100-B58B-B2EBC900FBF6}"/>
                </a:ext>
              </a:extLst>
            </p:cNvPr>
            <p:cNvCxnSpPr>
              <a:cxnSpLocks/>
              <a:stCxn id="53" idx="2"/>
              <a:endCxn id="33" idx="0"/>
            </p:cNvCxnSpPr>
            <p:nvPr/>
          </p:nvCxnSpPr>
          <p:spPr>
            <a:xfrm flipH="1">
              <a:off x="1791123" y="2249497"/>
              <a:ext cx="2840" cy="166676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1C595E47-9CF0-4FEE-A421-1E478AC8D9DB}"/>
                </a:ext>
              </a:extLst>
            </p:cNvPr>
            <p:cNvSpPr/>
            <p:nvPr/>
          </p:nvSpPr>
          <p:spPr>
            <a:xfrm>
              <a:off x="3246981" y="3916260"/>
              <a:ext cx="1278088" cy="4136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ensor data </a:t>
              </a:r>
              <a:b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tream Analytics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81775D60-3A98-4316-87A5-A9EBF60B00DB}"/>
                </a:ext>
              </a:extLst>
            </p:cNvPr>
            <p:cNvSpPr txBox="1"/>
            <p:nvPr/>
          </p:nvSpPr>
          <p:spPr>
            <a:xfrm>
              <a:off x="4092628" y="2583351"/>
              <a:ext cx="186781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24h Sensor Data Stream (JSON)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4CEFE013-6C92-4660-8F85-0B9C4F8C3A64}"/>
                </a:ext>
              </a:extLst>
            </p:cNvPr>
            <p:cNvSpPr txBox="1"/>
            <p:nvPr/>
          </p:nvSpPr>
          <p:spPr>
            <a:xfrm>
              <a:off x="4105201" y="2827950"/>
              <a:ext cx="199445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Filling level / IoT Component St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113E720B-80EB-4844-9712-4D79931275C1}"/>
                </a:ext>
              </a:extLst>
            </p:cNvPr>
            <p:cNvSpPr/>
            <p:nvPr/>
          </p:nvSpPr>
          <p:spPr>
            <a:xfrm>
              <a:off x="5393865" y="3916260"/>
              <a:ext cx="1278088" cy="4136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nalytics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ashboard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AA05739B-A194-4AB1-96FA-D70C9FF2606D}"/>
                </a:ext>
              </a:extLst>
            </p:cNvPr>
            <p:cNvCxnSpPr>
              <a:cxnSpLocks/>
              <a:stCxn id="75" idx="3"/>
              <a:endCxn id="88" idx="1"/>
            </p:cNvCxnSpPr>
            <p:nvPr/>
          </p:nvCxnSpPr>
          <p:spPr>
            <a:xfrm>
              <a:off x="4525069" y="4123072"/>
              <a:ext cx="86879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2C064154-623B-4E98-983C-C7AE2C04ECB5}"/>
                </a:ext>
              </a:extLst>
            </p:cNvPr>
            <p:cNvCxnSpPr>
              <a:stCxn id="33" idx="3"/>
              <a:endCxn id="75" idx="1"/>
            </p:cNvCxnSpPr>
            <p:nvPr/>
          </p:nvCxnSpPr>
          <p:spPr bwMode="auto">
            <a:xfrm>
              <a:off x="2430167" y="4123072"/>
              <a:ext cx="816814" cy="0"/>
            </a:xfrm>
            <a:prstGeom prst="line">
              <a:avLst/>
            </a:prstGeom>
            <a:ln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44530178-2989-43ED-8CC0-42F84C85694B}"/>
                </a:ext>
              </a:extLst>
            </p:cNvPr>
            <p:cNvSpPr/>
            <p:nvPr/>
          </p:nvSpPr>
          <p:spPr>
            <a:xfrm>
              <a:off x="2928738" y="4483514"/>
              <a:ext cx="4087194" cy="138157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C209E82F-1047-4779-ABBA-1C2982209BC2}"/>
                </a:ext>
              </a:extLst>
            </p:cNvPr>
            <p:cNvSpPr/>
            <p:nvPr/>
          </p:nvSpPr>
          <p:spPr>
            <a:xfrm>
              <a:off x="4280835" y="4605065"/>
              <a:ext cx="1278089" cy="42219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ptimal Route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Calcul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CF64FA6B-3E16-43E1-9A13-7B1D218D7E13}"/>
                </a:ext>
              </a:extLst>
            </p:cNvPr>
            <p:cNvCxnSpPr>
              <a:cxnSpLocks/>
              <a:stCxn id="38" idx="3"/>
              <a:endCxn id="62" idx="1"/>
            </p:cNvCxnSpPr>
            <p:nvPr/>
          </p:nvCxnSpPr>
          <p:spPr>
            <a:xfrm>
              <a:off x="2430168" y="4816064"/>
              <a:ext cx="1850667" cy="1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3E0156F9-857F-4B3F-90CE-BCBAADF91623}"/>
                </a:ext>
              </a:extLst>
            </p:cNvPr>
            <p:cNvSpPr/>
            <p:nvPr/>
          </p:nvSpPr>
          <p:spPr>
            <a:xfrm>
              <a:off x="4943403" y="5347637"/>
              <a:ext cx="1278089" cy="3755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irections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Calcula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DBDCCC73-333F-4BC1-A52A-C16B0BB0A8BC}"/>
                </a:ext>
              </a:extLst>
            </p:cNvPr>
            <p:cNvSpPr/>
            <p:nvPr/>
          </p:nvSpPr>
          <p:spPr>
            <a:xfrm>
              <a:off x="3545665" y="5357404"/>
              <a:ext cx="1278089" cy="3755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istance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Calcula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16" name="Connector: Elbow 15">
              <a:extLst>
                <a:ext uri="{FF2B5EF4-FFF2-40B4-BE49-F238E27FC236}">
                  <a16:creationId xmlns:a16="http://schemas.microsoft.com/office/drawing/2014/main" id="{CA7E01E0-11AB-492A-A611-0A1C4DAD54E6}"/>
                </a:ext>
              </a:extLst>
            </p:cNvPr>
            <p:cNvCxnSpPr>
              <a:stCxn id="62" idx="2"/>
              <a:endCxn id="70" idx="0"/>
            </p:cNvCxnSpPr>
            <p:nvPr/>
          </p:nvCxnSpPr>
          <p:spPr bwMode="auto">
            <a:xfrm rot="5400000">
              <a:off x="4387224" y="4824748"/>
              <a:ext cx="330142" cy="735170"/>
            </a:xfrm>
            <a:prstGeom prst="bentConnector3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nector: Elbow 19">
              <a:extLst>
                <a:ext uri="{FF2B5EF4-FFF2-40B4-BE49-F238E27FC236}">
                  <a16:creationId xmlns:a16="http://schemas.microsoft.com/office/drawing/2014/main" id="{A74466F8-38EC-430C-8A88-A2DB79BC9726}"/>
                </a:ext>
              </a:extLst>
            </p:cNvPr>
            <p:cNvCxnSpPr>
              <a:cxnSpLocks/>
              <a:endCxn id="69" idx="0"/>
            </p:cNvCxnSpPr>
            <p:nvPr/>
          </p:nvCxnSpPr>
          <p:spPr bwMode="auto">
            <a:xfrm>
              <a:off x="4912340" y="5190410"/>
              <a:ext cx="670108" cy="157227"/>
            </a:xfrm>
            <a:prstGeom prst="bentConnector2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or: Elbow 25">
              <a:extLst>
                <a:ext uri="{FF2B5EF4-FFF2-40B4-BE49-F238E27FC236}">
                  <a16:creationId xmlns:a16="http://schemas.microsoft.com/office/drawing/2014/main" id="{49D69969-B7D8-4D7E-80F4-ADCFD7DDF7A0}"/>
                </a:ext>
              </a:extLst>
            </p:cNvPr>
            <p:cNvCxnSpPr>
              <a:stCxn id="67" idx="2"/>
              <a:endCxn id="75" idx="0"/>
            </p:cNvCxnSpPr>
            <p:nvPr/>
          </p:nvCxnSpPr>
          <p:spPr bwMode="auto">
            <a:xfrm rot="16200000" flipH="1">
              <a:off x="3563414" y="3593648"/>
              <a:ext cx="415705" cy="229518"/>
            </a:xfrm>
            <a:prstGeom prst="bentConnector3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22FF66D6-9984-43AC-9D05-C1EC883CD3F4}"/>
                </a:ext>
              </a:extLst>
            </p:cNvPr>
            <p:cNvSpPr/>
            <p:nvPr/>
          </p:nvSpPr>
          <p:spPr>
            <a:xfrm>
              <a:off x="2928738" y="5915471"/>
              <a:ext cx="4079654" cy="50843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282EA6F6-7F9E-460A-8CAB-C1AF1BB13A64}"/>
                </a:ext>
              </a:extLst>
            </p:cNvPr>
            <p:cNvSpPr/>
            <p:nvPr/>
          </p:nvSpPr>
          <p:spPr>
            <a:xfrm>
              <a:off x="3485840" y="6006613"/>
              <a:ext cx="2675827" cy="3342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oogle - Directions \ Distance API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80" name="Straight Arrow Connector 79">
              <a:extLst>
                <a:ext uri="{FF2B5EF4-FFF2-40B4-BE49-F238E27FC236}">
                  <a16:creationId xmlns:a16="http://schemas.microsoft.com/office/drawing/2014/main" id="{450A3BAA-0150-40BC-8195-9D789A2D342E}"/>
                </a:ext>
              </a:extLst>
            </p:cNvPr>
            <p:cNvCxnSpPr>
              <a:cxnSpLocks/>
              <a:stCxn id="70" idx="2"/>
            </p:cNvCxnSpPr>
            <p:nvPr/>
          </p:nvCxnSpPr>
          <p:spPr>
            <a:xfrm>
              <a:off x="4184710" y="5732929"/>
              <a:ext cx="0" cy="27368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B5AA862D-1A37-49B1-BA2A-B9F47E444171}"/>
                </a:ext>
              </a:extLst>
            </p:cNvPr>
            <p:cNvCxnSpPr>
              <a:cxnSpLocks/>
              <a:stCxn id="69" idx="2"/>
            </p:cNvCxnSpPr>
            <p:nvPr/>
          </p:nvCxnSpPr>
          <p:spPr>
            <a:xfrm>
              <a:off x="5582448" y="5723162"/>
              <a:ext cx="0" cy="29322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18C7B0D7-F1A5-4BF7-BB95-C4BE5A9D3B0C}"/>
                </a:ext>
              </a:extLst>
            </p:cNvPr>
            <p:cNvSpPr/>
            <p:nvPr/>
          </p:nvSpPr>
          <p:spPr>
            <a:xfrm rot="16200000">
              <a:off x="695339" y="2890734"/>
              <a:ext cx="1138901" cy="4136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istance Matrix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Pre-calcul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83" name="Connector: Elbow 82">
              <a:extLst>
                <a:ext uri="{FF2B5EF4-FFF2-40B4-BE49-F238E27FC236}">
                  <a16:creationId xmlns:a16="http://schemas.microsoft.com/office/drawing/2014/main" id="{7778C65A-5B95-4734-ABE5-CF36C0EADC42}"/>
                </a:ext>
              </a:extLst>
            </p:cNvPr>
            <p:cNvCxnSpPr>
              <a:cxnSpLocks/>
              <a:endCxn id="56" idx="1"/>
            </p:cNvCxnSpPr>
            <p:nvPr/>
          </p:nvCxnSpPr>
          <p:spPr bwMode="auto">
            <a:xfrm rot="16200000" flipH="1">
              <a:off x="661540" y="3349442"/>
              <a:ext cx="3075798" cy="2572802"/>
            </a:xfrm>
            <a:prstGeom prst="bentConnector2">
              <a:avLst/>
            </a:prstGeom>
            <a:ln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73523DBD-EE0B-4EB5-9DC1-590426C681C3}"/>
                </a:ext>
              </a:extLst>
            </p:cNvPr>
            <p:cNvCxnSpPr>
              <a:stCxn id="87" idx="0"/>
            </p:cNvCxnSpPr>
            <p:nvPr/>
          </p:nvCxnSpPr>
          <p:spPr bwMode="auto">
            <a:xfrm flipH="1">
              <a:off x="913037" y="3097545"/>
              <a:ext cx="144941" cy="0"/>
            </a:xfrm>
            <a:prstGeom prst="line">
              <a:avLst/>
            </a:prstGeom>
            <a:ln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2D10B620-B956-414A-861D-09225D6B1A47}"/>
                </a:ext>
              </a:extLst>
            </p:cNvPr>
            <p:cNvSpPr/>
            <p:nvPr/>
          </p:nvSpPr>
          <p:spPr>
            <a:xfrm>
              <a:off x="7053238" y="2353851"/>
              <a:ext cx="1469919" cy="351124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4AE66C56-6F33-40CC-BD9D-A0938E58822A}"/>
                </a:ext>
              </a:extLst>
            </p:cNvPr>
            <p:cNvSpPr txBox="1"/>
            <p:nvPr/>
          </p:nvSpPr>
          <p:spPr>
            <a:xfrm rot="16200000">
              <a:off x="6731222" y="3055149"/>
              <a:ext cx="1540398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Reset </a:t>
              </a:r>
            </a:p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- Filling level</a:t>
              </a:r>
              <a:b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- IoT Comp. St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1DBB10AF-970C-4B43-85C7-C95FA7AEFA69}"/>
                </a:ext>
              </a:extLst>
            </p:cNvPr>
            <p:cNvSpPr/>
            <p:nvPr/>
          </p:nvSpPr>
          <p:spPr>
            <a:xfrm>
              <a:off x="7142618" y="4604964"/>
              <a:ext cx="1278089" cy="422197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Visualize optimal Route </a:t>
              </a:r>
              <a:r>
                <a:rPr lang="de-CH" sz="80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in Map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A796D7C1-8D51-4B3D-A96E-CC8E86D242BC}"/>
                </a:ext>
              </a:extLst>
            </p:cNvPr>
            <p:cNvCxnSpPr>
              <a:cxnSpLocks/>
              <a:stCxn id="62" idx="3"/>
              <a:endCxn id="63" idx="1"/>
            </p:cNvCxnSpPr>
            <p:nvPr/>
          </p:nvCxnSpPr>
          <p:spPr>
            <a:xfrm flipV="1">
              <a:off x="5558924" y="4816063"/>
              <a:ext cx="1583694" cy="10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D7B763C1-04E8-4BAA-9F62-07E63F3FBB15}"/>
                </a:ext>
              </a:extLst>
            </p:cNvPr>
            <p:cNvCxnSpPr>
              <a:cxnSpLocks/>
              <a:stCxn id="61" idx="2"/>
              <a:endCxn id="63" idx="0"/>
            </p:cNvCxnSpPr>
            <p:nvPr/>
          </p:nvCxnSpPr>
          <p:spPr>
            <a:xfrm>
              <a:off x="7766987" y="2249497"/>
              <a:ext cx="14676" cy="2355467"/>
            </a:xfrm>
            <a:prstGeom prst="straightConnector1">
              <a:avLst/>
            </a:prstGeom>
            <a:ln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Arrow Connector 96">
              <a:extLst>
                <a:ext uri="{FF2B5EF4-FFF2-40B4-BE49-F238E27FC236}">
                  <a16:creationId xmlns:a16="http://schemas.microsoft.com/office/drawing/2014/main" id="{867763F8-7D1B-4157-8850-368C89231B70}"/>
                </a:ext>
              </a:extLst>
            </p:cNvPr>
            <p:cNvCxnSpPr>
              <a:cxnSpLocks/>
              <a:stCxn id="87" idx="2"/>
            </p:cNvCxnSpPr>
            <p:nvPr/>
          </p:nvCxnSpPr>
          <p:spPr>
            <a:xfrm>
              <a:off x="1471601" y="3097545"/>
              <a:ext cx="319522" cy="0"/>
            </a:xfrm>
            <a:prstGeom prst="straightConnector1">
              <a:avLst/>
            </a:prstGeom>
            <a:ln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805231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4"/>
          <p:cNvSpPr>
            <a:spLocks noChangeArrowheads="1"/>
          </p:cNvSpPr>
          <p:nvPr/>
        </p:nvSpPr>
        <p:spPr bwMode="auto">
          <a:xfrm>
            <a:off x="250825" y="404813"/>
            <a:ext cx="86264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defTabSz="728663">
              <a:spcBef>
                <a:spcPct val="0"/>
              </a:spcBef>
              <a:buClrTx/>
              <a:buSzTx/>
              <a:buFontTx/>
              <a:buNone/>
            </a:pPr>
            <a:endParaRPr lang="en-US" sz="1800" b="1">
              <a:solidFill>
                <a:srgbClr val="003868"/>
              </a:solidFill>
            </a:endParaRPr>
          </a:p>
        </p:txBody>
      </p:sp>
      <p:sp>
        <p:nvSpPr>
          <p:cNvPr id="3075" name="Rectangle 2"/>
          <p:cNvSpPr>
            <a:spLocks noChangeArrowheads="1"/>
          </p:cNvSpPr>
          <p:nvPr/>
        </p:nvSpPr>
        <p:spPr bwMode="auto">
          <a:xfrm>
            <a:off x="431800" y="44450"/>
            <a:ext cx="8244656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defTabSz="728663">
              <a:spcBef>
                <a:spcPct val="0"/>
              </a:spcBef>
              <a:buClrTx/>
              <a:buSzTx/>
              <a:buFontTx/>
              <a:buNone/>
            </a:pPr>
            <a:r>
              <a:rPr lang="en-US" sz="2000" b="1">
                <a:solidFill>
                  <a:srgbClr val="003868"/>
                </a:solidFill>
              </a:rPr>
              <a:t>Content</a:t>
            </a:r>
            <a:r>
              <a:rPr lang="en-US" sz="2600" b="1">
                <a:solidFill>
                  <a:srgbClr val="003868"/>
                </a:solidFill>
              </a:rPr>
              <a:t> </a:t>
            </a:r>
            <a:br>
              <a:rPr lang="en-US" sz="2600" b="1">
                <a:solidFill>
                  <a:srgbClr val="003868"/>
                </a:solidFill>
              </a:rPr>
            </a:br>
            <a:r>
              <a:rPr lang="en-US" sz="2000">
                <a:solidFill>
                  <a:srgbClr val="91867E"/>
                </a:solidFill>
              </a:rPr>
              <a:t>Overview and Structure</a:t>
            </a:r>
          </a:p>
        </p:txBody>
      </p:sp>
      <p:grpSp>
        <p:nvGrpSpPr>
          <p:cNvPr id="3077" name="Group 237"/>
          <p:cNvGrpSpPr>
            <a:grpSpLocks/>
          </p:cNvGrpSpPr>
          <p:nvPr/>
        </p:nvGrpSpPr>
        <p:grpSpPr bwMode="auto">
          <a:xfrm>
            <a:off x="432371" y="1233488"/>
            <a:ext cx="5435773" cy="503237"/>
            <a:chOff x="227" y="777"/>
            <a:chExt cx="3538" cy="317"/>
          </a:xfrm>
        </p:grpSpPr>
        <p:sp>
          <p:nvSpPr>
            <p:cNvPr id="3090" name="Rectangle 4"/>
            <p:cNvSpPr>
              <a:spLocks noChangeArrowheads="1"/>
            </p:cNvSpPr>
            <p:nvPr/>
          </p:nvSpPr>
          <p:spPr bwMode="auto">
            <a:xfrm>
              <a:off x="340" y="777"/>
              <a:ext cx="3425" cy="317"/>
            </a:xfrm>
            <a:prstGeom prst="rect">
              <a:avLst/>
            </a:prstGeom>
            <a:noFill/>
            <a:ln w="12700" algn="ctr">
              <a:solidFill>
                <a:srgbClr val="CCCCCC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pPr marL="742950" lvl="1" indent="-285750" defTabSz="728663" eaLnBrk="0" hangingPunct="0">
                <a:lnSpc>
                  <a:spcPct val="110000"/>
                </a:lnSpc>
                <a:spcBef>
                  <a:spcPct val="0"/>
                </a:spcBef>
                <a:buFontTx/>
                <a:buNone/>
                <a:tabLst>
                  <a:tab pos="4286250" algn="l"/>
                </a:tabLst>
              </a:pPr>
              <a:r>
                <a:rPr lang="en-US" sz="1600" dirty="0">
                  <a:solidFill>
                    <a:srgbClr val="003866"/>
                  </a:solidFill>
                  <a:latin typeface="Credit Suisse Type Roman" pitchFamily="34" charset="0"/>
                  <a:cs typeface="Arial" charset="0"/>
                </a:rPr>
                <a:t>Introduction / Motivation</a:t>
              </a:r>
            </a:p>
          </p:txBody>
        </p:sp>
        <p:sp>
          <p:nvSpPr>
            <p:cNvPr id="3091" name="Rectangle 5"/>
            <p:cNvSpPr>
              <a:spLocks noChangeArrowheads="1"/>
            </p:cNvSpPr>
            <p:nvPr/>
          </p:nvSpPr>
          <p:spPr bwMode="auto">
            <a:xfrm>
              <a:off x="227" y="799"/>
              <a:ext cx="226" cy="240"/>
            </a:xfrm>
            <a:prstGeom prst="rect">
              <a:avLst/>
            </a:prstGeom>
            <a:solidFill>
              <a:srgbClr val="00386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CCCCCC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pPr marL="266700" indent="-266700" algn="ctr"/>
              <a:r>
                <a:rPr lang="en-US" sz="1400" b="1">
                  <a:solidFill>
                    <a:schemeClr val="bg1"/>
                  </a:solidFill>
                  <a:latin typeface="Credit Suisse Type Roman" pitchFamily="34" charset="0"/>
                  <a:cs typeface="Arial" charset="0"/>
                </a:rPr>
                <a:t>0</a:t>
              </a:r>
            </a:p>
          </p:txBody>
        </p:sp>
      </p:grpSp>
      <p:grpSp>
        <p:nvGrpSpPr>
          <p:cNvPr id="3078" name="Group 238"/>
          <p:cNvGrpSpPr>
            <a:grpSpLocks/>
          </p:cNvGrpSpPr>
          <p:nvPr/>
        </p:nvGrpSpPr>
        <p:grpSpPr bwMode="auto">
          <a:xfrm>
            <a:off x="430783" y="1881188"/>
            <a:ext cx="5435773" cy="503237"/>
            <a:chOff x="226" y="1185"/>
            <a:chExt cx="3538" cy="317"/>
          </a:xfrm>
        </p:grpSpPr>
        <p:sp>
          <p:nvSpPr>
            <p:cNvPr id="3088" name="Rectangle 4"/>
            <p:cNvSpPr>
              <a:spLocks noChangeArrowheads="1"/>
            </p:cNvSpPr>
            <p:nvPr/>
          </p:nvSpPr>
          <p:spPr bwMode="auto">
            <a:xfrm>
              <a:off x="339" y="1185"/>
              <a:ext cx="3425" cy="317"/>
            </a:xfrm>
            <a:prstGeom prst="rect">
              <a:avLst/>
            </a:prstGeom>
            <a:noFill/>
            <a:ln w="12700" algn="ctr">
              <a:solidFill>
                <a:srgbClr val="CCCCCC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CCC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pPr marL="742950" lvl="1" indent="-285750" defTabSz="728663" eaLnBrk="0" hangingPunct="0">
                <a:lnSpc>
                  <a:spcPct val="110000"/>
                </a:lnSpc>
                <a:spcBef>
                  <a:spcPct val="0"/>
                </a:spcBef>
                <a:tabLst>
                  <a:tab pos="4286250" algn="l"/>
                </a:tabLst>
              </a:pPr>
              <a:r>
                <a:rPr lang="en-US" sz="1600" dirty="0">
                  <a:solidFill>
                    <a:srgbClr val="003866"/>
                  </a:solidFill>
                  <a:latin typeface="Credit Suisse Type Roman" pitchFamily="34" charset="0"/>
                  <a:cs typeface="Arial" charset="0"/>
                </a:rPr>
                <a:t>Results</a:t>
              </a:r>
            </a:p>
          </p:txBody>
        </p:sp>
        <p:sp>
          <p:nvSpPr>
            <p:cNvPr id="3089" name="Rectangle 5"/>
            <p:cNvSpPr>
              <a:spLocks noChangeArrowheads="1"/>
            </p:cNvSpPr>
            <p:nvPr/>
          </p:nvSpPr>
          <p:spPr bwMode="auto">
            <a:xfrm>
              <a:off x="226" y="1207"/>
              <a:ext cx="226" cy="240"/>
            </a:xfrm>
            <a:prstGeom prst="rect">
              <a:avLst/>
            </a:prstGeom>
            <a:solidFill>
              <a:srgbClr val="00386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CCCCCC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pPr marL="266700" indent="-266700" algn="ctr"/>
              <a:r>
                <a:rPr lang="en-US" sz="1400" b="1">
                  <a:solidFill>
                    <a:schemeClr val="bg1"/>
                  </a:solidFill>
                  <a:latin typeface="Credit Suisse Type Roman" pitchFamily="34" charset="0"/>
                  <a:cs typeface="Arial" charset="0"/>
                </a:rPr>
                <a:t>1</a:t>
              </a:r>
            </a:p>
          </p:txBody>
        </p:sp>
      </p:grpSp>
      <p:grpSp>
        <p:nvGrpSpPr>
          <p:cNvPr id="3079" name="Group 239"/>
          <p:cNvGrpSpPr>
            <a:grpSpLocks/>
          </p:cNvGrpSpPr>
          <p:nvPr/>
        </p:nvGrpSpPr>
        <p:grpSpPr bwMode="auto">
          <a:xfrm>
            <a:off x="430783" y="2528888"/>
            <a:ext cx="5435773" cy="503237"/>
            <a:chOff x="226" y="1185"/>
            <a:chExt cx="3538" cy="317"/>
          </a:xfrm>
        </p:grpSpPr>
        <p:sp>
          <p:nvSpPr>
            <p:cNvPr id="3086" name="Rectangle 4"/>
            <p:cNvSpPr>
              <a:spLocks noChangeArrowheads="1"/>
            </p:cNvSpPr>
            <p:nvPr/>
          </p:nvSpPr>
          <p:spPr bwMode="auto">
            <a:xfrm>
              <a:off x="339" y="1185"/>
              <a:ext cx="3425" cy="317"/>
            </a:xfrm>
            <a:prstGeom prst="rect">
              <a:avLst/>
            </a:prstGeom>
            <a:noFill/>
            <a:ln w="12700" algn="ctr">
              <a:solidFill>
                <a:srgbClr val="CCCCCC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CCC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pPr marL="742950" lvl="1" indent="-285750" defTabSz="728663" eaLnBrk="0" hangingPunct="0">
                <a:lnSpc>
                  <a:spcPct val="110000"/>
                </a:lnSpc>
                <a:spcBef>
                  <a:spcPct val="0"/>
                </a:spcBef>
                <a:tabLst>
                  <a:tab pos="4286250" algn="l"/>
                </a:tabLst>
              </a:pPr>
              <a:r>
                <a:rPr lang="en-US" sz="1600" dirty="0">
                  <a:solidFill>
                    <a:srgbClr val="003866"/>
                  </a:solidFill>
                  <a:latin typeface="Credit Suisse Type Roman" pitchFamily="34" charset="0"/>
                  <a:cs typeface="Arial" charset="0"/>
                </a:rPr>
                <a:t>Context Diagram</a:t>
              </a:r>
            </a:p>
          </p:txBody>
        </p:sp>
        <p:sp>
          <p:nvSpPr>
            <p:cNvPr id="3087" name="Rectangle 5"/>
            <p:cNvSpPr>
              <a:spLocks noChangeArrowheads="1"/>
            </p:cNvSpPr>
            <p:nvPr/>
          </p:nvSpPr>
          <p:spPr bwMode="auto">
            <a:xfrm>
              <a:off x="226" y="1207"/>
              <a:ext cx="226" cy="240"/>
            </a:xfrm>
            <a:prstGeom prst="rect">
              <a:avLst/>
            </a:prstGeom>
            <a:solidFill>
              <a:srgbClr val="00386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CCCCCC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pPr marL="266700" indent="-266700" algn="ctr"/>
              <a:r>
                <a:rPr lang="en-US" sz="1400" b="1">
                  <a:solidFill>
                    <a:schemeClr val="bg1"/>
                  </a:solidFill>
                  <a:latin typeface="Credit Suisse Type Roman" pitchFamily="34" charset="0"/>
                  <a:cs typeface="Arial" charset="0"/>
                </a:rPr>
                <a:t>2</a:t>
              </a:r>
            </a:p>
          </p:txBody>
        </p:sp>
      </p:grpSp>
      <p:grpSp>
        <p:nvGrpSpPr>
          <p:cNvPr id="3080" name="Group 242"/>
          <p:cNvGrpSpPr>
            <a:grpSpLocks/>
          </p:cNvGrpSpPr>
          <p:nvPr/>
        </p:nvGrpSpPr>
        <p:grpSpPr bwMode="auto">
          <a:xfrm>
            <a:off x="430783" y="3178175"/>
            <a:ext cx="5435773" cy="503238"/>
            <a:chOff x="226" y="1185"/>
            <a:chExt cx="3538" cy="317"/>
          </a:xfrm>
        </p:grpSpPr>
        <p:sp>
          <p:nvSpPr>
            <p:cNvPr id="3084" name="Rectangle 4"/>
            <p:cNvSpPr>
              <a:spLocks noChangeArrowheads="1"/>
            </p:cNvSpPr>
            <p:nvPr/>
          </p:nvSpPr>
          <p:spPr bwMode="auto">
            <a:xfrm>
              <a:off x="339" y="1185"/>
              <a:ext cx="3425" cy="317"/>
            </a:xfrm>
            <a:prstGeom prst="rect">
              <a:avLst/>
            </a:prstGeom>
            <a:noFill/>
            <a:ln w="12700" algn="ctr">
              <a:solidFill>
                <a:srgbClr val="CCCCCC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CCC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pPr marL="742950" lvl="1" indent="-285750" defTabSz="728663" eaLnBrk="0" hangingPunct="0">
                <a:lnSpc>
                  <a:spcPct val="110000"/>
                </a:lnSpc>
                <a:spcBef>
                  <a:spcPct val="0"/>
                </a:spcBef>
                <a:buFont typeface="Wingdings" pitchFamily="2" charset="2"/>
                <a:buNone/>
                <a:tabLst>
                  <a:tab pos="4286250" algn="l"/>
                </a:tabLst>
              </a:pPr>
              <a:r>
                <a:rPr lang="en-US" sz="1600" dirty="0">
                  <a:solidFill>
                    <a:srgbClr val="003866"/>
                  </a:solidFill>
                  <a:latin typeface="Credit Suisse Type Roman" pitchFamily="34" charset="0"/>
                  <a:cs typeface="Arial" charset="0"/>
                </a:rPr>
                <a:t>Application Demo</a:t>
              </a:r>
            </a:p>
          </p:txBody>
        </p:sp>
        <p:sp>
          <p:nvSpPr>
            <p:cNvPr id="3085" name="Rectangle 5"/>
            <p:cNvSpPr>
              <a:spLocks noChangeArrowheads="1"/>
            </p:cNvSpPr>
            <p:nvPr/>
          </p:nvSpPr>
          <p:spPr bwMode="auto">
            <a:xfrm>
              <a:off x="226" y="1207"/>
              <a:ext cx="226" cy="240"/>
            </a:xfrm>
            <a:prstGeom prst="rect">
              <a:avLst/>
            </a:prstGeom>
            <a:solidFill>
              <a:srgbClr val="00386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CCCCCC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pPr marL="266700" indent="-266700" algn="ctr"/>
              <a:r>
                <a:rPr lang="en-US" sz="1400" b="1">
                  <a:solidFill>
                    <a:schemeClr val="bg1"/>
                  </a:solidFill>
                  <a:latin typeface="Credit Suisse Type Roman" pitchFamily="34" charset="0"/>
                  <a:cs typeface="Arial" charset="0"/>
                </a:rPr>
                <a:t>3</a:t>
              </a:r>
            </a:p>
          </p:txBody>
        </p:sp>
      </p:grpSp>
      <p:grpSp>
        <p:nvGrpSpPr>
          <p:cNvPr id="3081" name="Group 245"/>
          <p:cNvGrpSpPr>
            <a:grpSpLocks/>
          </p:cNvGrpSpPr>
          <p:nvPr/>
        </p:nvGrpSpPr>
        <p:grpSpPr bwMode="auto">
          <a:xfrm>
            <a:off x="430783" y="3824288"/>
            <a:ext cx="5435773" cy="503237"/>
            <a:chOff x="226" y="1185"/>
            <a:chExt cx="3538" cy="317"/>
          </a:xfrm>
        </p:grpSpPr>
        <p:sp>
          <p:nvSpPr>
            <p:cNvPr id="3082" name="Rectangle 4"/>
            <p:cNvSpPr>
              <a:spLocks noChangeArrowheads="1"/>
            </p:cNvSpPr>
            <p:nvPr/>
          </p:nvSpPr>
          <p:spPr bwMode="auto">
            <a:xfrm>
              <a:off x="339" y="1185"/>
              <a:ext cx="3425" cy="317"/>
            </a:xfrm>
            <a:prstGeom prst="rect">
              <a:avLst/>
            </a:prstGeom>
            <a:noFill/>
            <a:ln w="12700" algn="ctr">
              <a:solidFill>
                <a:srgbClr val="CCCCCC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CCC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pPr marL="742950" lvl="1" indent="-285750" defTabSz="728663" eaLnBrk="0" hangingPunct="0">
                <a:lnSpc>
                  <a:spcPct val="110000"/>
                </a:lnSpc>
                <a:spcBef>
                  <a:spcPct val="0"/>
                </a:spcBef>
                <a:tabLst>
                  <a:tab pos="4286250" algn="l"/>
                </a:tabLst>
              </a:pPr>
              <a:r>
                <a:rPr lang="en-US" sz="1600" dirty="0">
                  <a:solidFill>
                    <a:srgbClr val="003866"/>
                  </a:solidFill>
                  <a:latin typeface="Credit Suisse Type Roman" pitchFamily="34" charset="0"/>
                  <a:cs typeface="Arial" charset="0"/>
                </a:rPr>
                <a:t>Project Insights / Issues</a:t>
              </a:r>
            </a:p>
          </p:txBody>
        </p:sp>
        <p:sp>
          <p:nvSpPr>
            <p:cNvPr id="3083" name="Rectangle 5"/>
            <p:cNvSpPr>
              <a:spLocks noChangeArrowheads="1"/>
            </p:cNvSpPr>
            <p:nvPr/>
          </p:nvSpPr>
          <p:spPr bwMode="auto">
            <a:xfrm>
              <a:off x="226" y="1207"/>
              <a:ext cx="226" cy="240"/>
            </a:xfrm>
            <a:prstGeom prst="rect">
              <a:avLst/>
            </a:prstGeom>
            <a:solidFill>
              <a:srgbClr val="00386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CCCCCC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pPr marL="266700" indent="-266700" algn="ctr"/>
              <a:r>
                <a:rPr lang="en-US" sz="1400" b="1">
                  <a:solidFill>
                    <a:schemeClr val="bg1"/>
                  </a:solidFill>
                  <a:latin typeface="Credit Suisse Type Roman" pitchFamily="34" charset="0"/>
                  <a:cs typeface="Arial" charset="0"/>
                </a:rPr>
                <a:t>4</a:t>
              </a:r>
            </a:p>
          </p:txBody>
        </p:sp>
      </p:grpSp>
      <p:grpSp>
        <p:nvGrpSpPr>
          <p:cNvPr id="20" name="Group 245">
            <a:extLst>
              <a:ext uri="{FF2B5EF4-FFF2-40B4-BE49-F238E27FC236}">
                <a16:creationId xmlns:a16="http://schemas.microsoft.com/office/drawing/2014/main" id="{F99C7A3C-BB28-4A9B-AC46-9642013F91B2}"/>
              </a:ext>
            </a:extLst>
          </p:cNvPr>
          <p:cNvGrpSpPr>
            <a:grpSpLocks/>
          </p:cNvGrpSpPr>
          <p:nvPr/>
        </p:nvGrpSpPr>
        <p:grpSpPr bwMode="auto">
          <a:xfrm>
            <a:off x="430783" y="4470400"/>
            <a:ext cx="5435773" cy="503237"/>
            <a:chOff x="226" y="1185"/>
            <a:chExt cx="3538" cy="317"/>
          </a:xfrm>
        </p:grpSpPr>
        <p:sp>
          <p:nvSpPr>
            <p:cNvPr id="21" name="Rectangle 4">
              <a:extLst>
                <a:ext uri="{FF2B5EF4-FFF2-40B4-BE49-F238E27FC236}">
                  <a16:creationId xmlns:a16="http://schemas.microsoft.com/office/drawing/2014/main" id="{EC632604-16B2-41D7-8EE1-5383065F65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" y="1185"/>
              <a:ext cx="3425" cy="317"/>
            </a:xfrm>
            <a:prstGeom prst="rect">
              <a:avLst/>
            </a:prstGeom>
            <a:noFill/>
            <a:ln w="12700" algn="ctr">
              <a:solidFill>
                <a:srgbClr val="CCCCCC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CCC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pPr marL="742950" lvl="1" indent="-285750" defTabSz="728663" eaLnBrk="0" hangingPunct="0">
                <a:lnSpc>
                  <a:spcPct val="110000"/>
                </a:lnSpc>
                <a:spcBef>
                  <a:spcPct val="0"/>
                </a:spcBef>
                <a:buFont typeface="Wingdings" pitchFamily="2" charset="2"/>
                <a:buNone/>
                <a:tabLst>
                  <a:tab pos="4286250" algn="l"/>
                </a:tabLst>
              </a:pPr>
              <a:r>
                <a:rPr lang="en-US" sz="1600" dirty="0">
                  <a:solidFill>
                    <a:srgbClr val="003866"/>
                  </a:solidFill>
                  <a:latin typeface="Credit Suisse Type Roman" pitchFamily="34" charset="0"/>
                  <a:cs typeface="Arial" charset="0"/>
                </a:rPr>
                <a:t>Conclusion</a:t>
              </a:r>
            </a:p>
          </p:txBody>
        </p:sp>
        <p:sp>
          <p:nvSpPr>
            <p:cNvPr id="22" name="Rectangle 5">
              <a:extLst>
                <a:ext uri="{FF2B5EF4-FFF2-40B4-BE49-F238E27FC236}">
                  <a16:creationId xmlns:a16="http://schemas.microsoft.com/office/drawing/2014/main" id="{BAF7CEBE-C52B-4216-BB14-B93E88B1E4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" y="1207"/>
              <a:ext cx="226" cy="240"/>
            </a:xfrm>
            <a:prstGeom prst="rect">
              <a:avLst/>
            </a:prstGeom>
            <a:solidFill>
              <a:srgbClr val="00386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CCCCCC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pPr marL="266700" indent="-266700" algn="ctr"/>
              <a:r>
                <a:rPr lang="en-US" sz="1400" b="1" dirty="0">
                  <a:solidFill>
                    <a:schemeClr val="bg1"/>
                  </a:solidFill>
                  <a:latin typeface="Credit Suisse Type Roman" pitchFamily="34" charset="0"/>
                  <a:cs typeface="Arial" charset="0"/>
                </a:rPr>
                <a:t>5</a:t>
              </a:r>
            </a:p>
          </p:txBody>
        </p:sp>
      </p:grpSp>
      <p:grpSp>
        <p:nvGrpSpPr>
          <p:cNvPr id="24" name="Group 245">
            <a:extLst>
              <a:ext uri="{FF2B5EF4-FFF2-40B4-BE49-F238E27FC236}">
                <a16:creationId xmlns:a16="http://schemas.microsoft.com/office/drawing/2014/main" id="{E40A10BE-D1B6-452A-919D-85183B827B41}"/>
              </a:ext>
            </a:extLst>
          </p:cNvPr>
          <p:cNvGrpSpPr>
            <a:grpSpLocks/>
          </p:cNvGrpSpPr>
          <p:nvPr/>
        </p:nvGrpSpPr>
        <p:grpSpPr bwMode="auto">
          <a:xfrm>
            <a:off x="430783" y="5086350"/>
            <a:ext cx="5435773" cy="503237"/>
            <a:chOff x="226" y="1185"/>
            <a:chExt cx="3538" cy="317"/>
          </a:xfrm>
        </p:grpSpPr>
        <p:sp>
          <p:nvSpPr>
            <p:cNvPr id="25" name="Rectangle 4">
              <a:extLst>
                <a:ext uri="{FF2B5EF4-FFF2-40B4-BE49-F238E27FC236}">
                  <a16:creationId xmlns:a16="http://schemas.microsoft.com/office/drawing/2014/main" id="{F65054F4-0D24-4357-A3DC-132F65B6C0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" y="1185"/>
              <a:ext cx="3425" cy="317"/>
            </a:xfrm>
            <a:prstGeom prst="rect">
              <a:avLst/>
            </a:prstGeom>
            <a:noFill/>
            <a:ln w="12700" algn="ctr">
              <a:solidFill>
                <a:srgbClr val="CCCCCC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CCC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pPr marL="742950" lvl="1" indent="-285750" defTabSz="728663" eaLnBrk="0" hangingPunct="0">
                <a:lnSpc>
                  <a:spcPct val="110000"/>
                </a:lnSpc>
                <a:spcBef>
                  <a:spcPct val="0"/>
                </a:spcBef>
                <a:buFont typeface="Wingdings" pitchFamily="2" charset="2"/>
                <a:buNone/>
                <a:tabLst>
                  <a:tab pos="4286250" algn="l"/>
                </a:tabLst>
              </a:pPr>
              <a:r>
                <a:rPr lang="en-US" sz="1600" dirty="0">
                  <a:solidFill>
                    <a:srgbClr val="003866"/>
                  </a:solidFill>
                  <a:latin typeface="Credit Suisse Type Roman" pitchFamily="34" charset="0"/>
                  <a:cs typeface="Arial" charset="0"/>
                </a:rPr>
                <a:t>Q&amp;A</a:t>
              </a:r>
            </a:p>
          </p:txBody>
        </p:sp>
        <p:sp>
          <p:nvSpPr>
            <p:cNvPr id="26" name="Rectangle 5">
              <a:extLst>
                <a:ext uri="{FF2B5EF4-FFF2-40B4-BE49-F238E27FC236}">
                  <a16:creationId xmlns:a16="http://schemas.microsoft.com/office/drawing/2014/main" id="{CF26530C-B783-464D-910F-D612D80496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" y="1207"/>
              <a:ext cx="226" cy="240"/>
            </a:xfrm>
            <a:prstGeom prst="rect">
              <a:avLst/>
            </a:prstGeom>
            <a:solidFill>
              <a:srgbClr val="00386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CCCCCC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pPr marL="266700" indent="-266700" algn="ctr"/>
              <a:r>
                <a:rPr lang="en-US" sz="1400" b="1" dirty="0">
                  <a:solidFill>
                    <a:schemeClr val="bg1"/>
                  </a:solidFill>
                  <a:latin typeface="Credit Suisse Type Roman" pitchFamily="34" charset="0"/>
                  <a:cs typeface="Arial" charset="0"/>
                </a:rPr>
                <a:t>6</a:t>
              </a:r>
            </a:p>
          </p:txBody>
        </p:sp>
      </p:grpSp>
      <p:pic>
        <p:nvPicPr>
          <p:cNvPr id="7" name="Picture 6" descr="Twisting road thorugh hills and a valley at sunset">
            <a:extLst>
              <a:ext uri="{FF2B5EF4-FFF2-40B4-BE49-F238E27FC236}">
                <a16:creationId xmlns:a16="http://schemas.microsoft.com/office/drawing/2014/main" id="{89210CE0-4284-4884-8BA2-9B4AAFC7593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4" r="29135"/>
          <a:stretch/>
        </p:blipFill>
        <p:spPr>
          <a:xfrm>
            <a:off x="5921953" y="1233488"/>
            <a:ext cx="2863272" cy="2259496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075CCDD-0B8B-4039-9113-FB6B770C2E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800" y="44450"/>
            <a:ext cx="835342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defTabSz="728663">
              <a:spcBef>
                <a:spcPct val="0"/>
              </a:spcBef>
              <a:buClrTx/>
              <a:buSzTx/>
              <a:buFontTx/>
              <a:buNone/>
            </a:pPr>
            <a:r>
              <a:rPr lang="en-GB" sz="2000" b="1" dirty="0">
                <a:solidFill>
                  <a:srgbClr val="003868"/>
                </a:solidFill>
              </a:rPr>
              <a:t>Trash bins – The ideal route</a:t>
            </a:r>
            <a:br>
              <a:rPr lang="en-US" sz="2600" b="1" dirty="0">
                <a:solidFill>
                  <a:srgbClr val="003868"/>
                </a:solidFill>
              </a:rPr>
            </a:br>
            <a:r>
              <a:rPr lang="en-US" sz="1600" dirty="0">
                <a:solidFill>
                  <a:srgbClr val="9186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troduction / Motiv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821041B-EF9D-425E-B55C-91DF15FA8C22}"/>
              </a:ext>
            </a:extLst>
          </p:cNvPr>
          <p:cNvSpPr txBox="1"/>
          <p:nvPr/>
        </p:nvSpPr>
        <p:spPr>
          <a:xfrm>
            <a:off x="431800" y="1124744"/>
            <a:ext cx="8311378" cy="24560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b="1" dirty="0">
                <a:solidFill>
                  <a:schemeClr val="tx2">
                    <a:lumMod val="75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Motivation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very morning 5:15am a garbageman passes by and empties Trash bins (if full or empty)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sz="1200" b="0" dirty="0">
                <a:solidFill>
                  <a:schemeClr val="tx2">
                    <a:lumMod val="75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Create a product if a trash bin requires maintenance (filling level, HW Issue)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ind an optimal route for a garbage man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ituation is applicable to any city in the world</a:t>
            </a:r>
            <a:endParaRPr lang="en-GB" sz="1200" b="0" dirty="0">
              <a:solidFill>
                <a:schemeClr val="tx2">
                  <a:lumMod val="75000"/>
                </a:schemeClr>
              </a:solidFill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GB" sz="1200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buClr>
                <a:srgbClr val="C00000"/>
              </a:buClr>
            </a:pPr>
            <a:r>
              <a:rPr lang="en-GB" sz="1200" b="1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hallenge 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 data source available (simulation of interactive data exchange required)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sz="1200" b="0" dirty="0">
                <a:solidFill>
                  <a:schemeClr val="tx2">
                    <a:lumMod val="75000"/>
                  </a:schemeClr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Equip IoT Component with every trash bin which indicates filling level and IoT Component state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pproach should work for every city in the world</a:t>
            </a:r>
            <a:br>
              <a:rPr lang="en-GB" sz="1200" dirty="0">
                <a:solidFill>
                  <a:schemeClr val="tx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en-GB" sz="1200" dirty="0">
              <a:solidFill>
                <a:schemeClr val="tx2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37B7D30-F1DE-49B6-958E-9B74BC9B4248}"/>
              </a:ext>
            </a:extLst>
          </p:cNvPr>
          <p:cNvGrpSpPr/>
          <p:nvPr/>
        </p:nvGrpSpPr>
        <p:grpSpPr>
          <a:xfrm>
            <a:off x="1838036" y="3786909"/>
            <a:ext cx="4830619" cy="2456057"/>
            <a:chOff x="1838036" y="3786909"/>
            <a:chExt cx="4830619" cy="2456057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1B10740-73F4-4E1B-A7B4-162EC575C215}"/>
                </a:ext>
              </a:extLst>
            </p:cNvPr>
            <p:cNvGrpSpPr/>
            <p:nvPr/>
          </p:nvGrpSpPr>
          <p:grpSpPr>
            <a:xfrm>
              <a:off x="2179883" y="3888509"/>
              <a:ext cx="4318230" cy="2201226"/>
              <a:chOff x="1921265" y="3619215"/>
              <a:chExt cx="4843509" cy="2572120"/>
            </a:xfrm>
          </p:grpSpPr>
          <p:pic>
            <p:nvPicPr>
              <p:cNvPr id="9" name="Graphic 8" descr="Wi-Fi with solid fill">
                <a:extLst>
                  <a:ext uri="{FF2B5EF4-FFF2-40B4-BE49-F238E27FC236}">
                    <a16:creationId xmlns:a16="http://schemas.microsoft.com/office/drawing/2014/main" id="{B2548F27-A5CB-4517-8E7B-983D67736C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 rot="10800000">
                <a:off x="2401841" y="3619215"/>
                <a:ext cx="466539" cy="466539"/>
              </a:xfrm>
              <a:prstGeom prst="rect">
                <a:avLst/>
              </a:prstGeom>
            </p:spPr>
          </p:pic>
          <p:pic>
            <p:nvPicPr>
              <p:cNvPr id="4" name="Graphic 3" descr="Garbage with solid fill">
                <a:extLst>
                  <a:ext uri="{FF2B5EF4-FFF2-40B4-BE49-F238E27FC236}">
                    <a16:creationId xmlns:a16="http://schemas.microsoft.com/office/drawing/2014/main" id="{862298AC-D405-4A13-B2F1-93B7867A4E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921266" y="3747991"/>
                <a:ext cx="586510" cy="586510"/>
              </a:xfrm>
              <a:prstGeom prst="rect">
                <a:avLst/>
              </a:prstGeom>
            </p:spPr>
          </p:pic>
          <p:pic>
            <p:nvPicPr>
              <p:cNvPr id="6" name="Graphic 5" descr="Garbage with solid fill">
                <a:extLst>
                  <a:ext uri="{FF2B5EF4-FFF2-40B4-BE49-F238E27FC236}">
                    <a16:creationId xmlns:a16="http://schemas.microsoft.com/office/drawing/2014/main" id="{CB1A4799-CC92-4AE1-B161-4ACC2AC404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921266" y="4685542"/>
                <a:ext cx="568242" cy="568242"/>
              </a:xfrm>
              <a:prstGeom prst="rect">
                <a:avLst/>
              </a:prstGeom>
            </p:spPr>
          </p:pic>
          <p:pic>
            <p:nvPicPr>
              <p:cNvPr id="7" name="Graphic 6" descr="Garbage with solid fill">
                <a:extLst>
                  <a:ext uri="{FF2B5EF4-FFF2-40B4-BE49-F238E27FC236}">
                    <a16:creationId xmlns:a16="http://schemas.microsoft.com/office/drawing/2014/main" id="{72E20580-E722-4A22-AB7E-371BA9D41D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921265" y="5623092"/>
                <a:ext cx="568243" cy="568243"/>
              </a:xfrm>
              <a:prstGeom prst="rect">
                <a:avLst/>
              </a:prstGeom>
            </p:spPr>
          </p:pic>
          <p:pic>
            <p:nvPicPr>
              <p:cNvPr id="12" name="Graphic 11" descr="Wi-Fi with solid fill">
                <a:extLst>
                  <a:ext uri="{FF2B5EF4-FFF2-40B4-BE49-F238E27FC236}">
                    <a16:creationId xmlns:a16="http://schemas.microsoft.com/office/drawing/2014/main" id="{5B36456A-6F0E-4DC6-94A7-72F229D80F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 rot="10800000">
                <a:off x="2404251" y="4547237"/>
                <a:ext cx="466538" cy="466538"/>
              </a:xfrm>
              <a:prstGeom prst="rect">
                <a:avLst/>
              </a:prstGeom>
            </p:spPr>
          </p:pic>
          <p:pic>
            <p:nvPicPr>
              <p:cNvPr id="13" name="Graphic 12" descr="Wi-Fi with solid fill">
                <a:extLst>
                  <a:ext uri="{FF2B5EF4-FFF2-40B4-BE49-F238E27FC236}">
                    <a16:creationId xmlns:a16="http://schemas.microsoft.com/office/drawing/2014/main" id="{7DA88EA2-27D1-4D60-95B8-789D6B1A4D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 rot="10800000">
                <a:off x="2408870" y="5475257"/>
                <a:ext cx="466538" cy="466538"/>
              </a:xfrm>
              <a:prstGeom prst="rect">
                <a:avLst/>
              </a:prstGeom>
            </p:spPr>
          </p:pic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560D4420-9A55-4576-A5C9-8CE6232842B4}"/>
                  </a:ext>
                </a:extLst>
              </p:cNvPr>
              <p:cNvSpPr txBox="1"/>
              <p:nvPr/>
            </p:nvSpPr>
            <p:spPr>
              <a:xfrm>
                <a:off x="2437757" y="3990194"/>
                <a:ext cx="394122" cy="2877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CH" b="1" dirty="0">
                    <a:solidFill>
                      <a:schemeClr val="bg1">
                        <a:lumMod val="50000"/>
                      </a:schemeClr>
                    </a:solidFill>
                  </a:rPr>
                  <a:t>IoT</a:t>
                </a:r>
                <a:endParaRPr lang="en-GB" b="1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5F84E0AB-B526-4314-BC22-6107C9BC072F}"/>
                  </a:ext>
                </a:extLst>
              </p:cNvPr>
              <p:cNvSpPr txBox="1"/>
              <p:nvPr/>
            </p:nvSpPr>
            <p:spPr>
              <a:xfrm>
                <a:off x="2440801" y="4918160"/>
                <a:ext cx="394122" cy="2877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CH" b="1" dirty="0">
                    <a:solidFill>
                      <a:schemeClr val="bg1">
                        <a:lumMod val="50000"/>
                      </a:schemeClr>
                    </a:solidFill>
                  </a:rPr>
                  <a:t>IoT</a:t>
                </a:r>
                <a:endParaRPr lang="en-GB" b="1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327F36F1-EB9D-4C40-A1D9-17140553B250}"/>
                  </a:ext>
                </a:extLst>
              </p:cNvPr>
              <p:cNvSpPr txBox="1"/>
              <p:nvPr/>
            </p:nvSpPr>
            <p:spPr>
              <a:xfrm>
                <a:off x="2448116" y="5837287"/>
                <a:ext cx="394122" cy="2877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CH" b="1" dirty="0">
                    <a:solidFill>
                      <a:schemeClr val="bg1">
                        <a:lumMod val="50000"/>
                      </a:schemeClr>
                    </a:solidFill>
                  </a:rPr>
                  <a:t>IoT</a:t>
                </a:r>
                <a:endParaRPr lang="en-GB" b="1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pic>
            <p:nvPicPr>
              <p:cNvPr id="18" name="Graphic 17" descr="Server with solid fill">
                <a:extLst>
                  <a:ext uri="{FF2B5EF4-FFF2-40B4-BE49-F238E27FC236}">
                    <a16:creationId xmlns:a16="http://schemas.microsoft.com/office/drawing/2014/main" id="{039A553A-C65F-4629-AB8E-1A2EFCF8C4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4167909" y="4623195"/>
                <a:ext cx="808182" cy="808182"/>
              </a:xfrm>
              <a:prstGeom prst="rect">
                <a:avLst/>
              </a:prstGeom>
            </p:spPr>
          </p:pic>
          <p:cxnSp>
            <p:nvCxnSpPr>
              <p:cNvPr id="20" name="Straight Arrow Connector 19">
                <a:extLst>
                  <a:ext uri="{FF2B5EF4-FFF2-40B4-BE49-F238E27FC236}">
                    <a16:creationId xmlns:a16="http://schemas.microsoft.com/office/drawing/2014/main" id="{86FE3203-D5A6-4938-A4C3-173C18D533D0}"/>
                  </a:ext>
                </a:extLst>
              </p:cNvPr>
              <p:cNvCxnSpPr>
                <a:cxnSpLocks/>
                <a:stCxn id="14" idx="3"/>
              </p:cNvCxnSpPr>
              <p:nvPr/>
            </p:nvCxnSpPr>
            <p:spPr bwMode="auto">
              <a:xfrm>
                <a:off x="2831877" y="4134049"/>
                <a:ext cx="1249570" cy="563848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Arrow Connector 20">
                <a:extLst>
                  <a:ext uri="{FF2B5EF4-FFF2-40B4-BE49-F238E27FC236}">
                    <a16:creationId xmlns:a16="http://schemas.microsoft.com/office/drawing/2014/main" id="{4CEBCBE4-4419-4FB7-ADD4-2C8999EDC72E}"/>
                  </a:ext>
                </a:extLst>
              </p:cNvPr>
              <p:cNvCxnSpPr>
                <a:cxnSpLocks/>
                <a:stCxn id="15" idx="3"/>
                <a:endCxn id="18" idx="1"/>
              </p:cNvCxnSpPr>
              <p:nvPr/>
            </p:nvCxnSpPr>
            <p:spPr bwMode="auto">
              <a:xfrm flipV="1">
                <a:off x="2834922" y="5027286"/>
                <a:ext cx="1332987" cy="34729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Arrow Connector 24">
                <a:extLst>
                  <a:ext uri="{FF2B5EF4-FFF2-40B4-BE49-F238E27FC236}">
                    <a16:creationId xmlns:a16="http://schemas.microsoft.com/office/drawing/2014/main" id="{0746A841-EF00-46E3-A1E5-7194FDBD2DE5}"/>
                  </a:ext>
                </a:extLst>
              </p:cNvPr>
              <p:cNvCxnSpPr>
                <a:cxnSpLocks/>
                <a:stCxn id="16" idx="3"/>
              </p:cNvCxnSpPr>
              <p:nvPr/>
            </p:nvCxnSpPr>
            <p:spPr bwMode="auto">
              <a:xfrm flipV="1">
                <a:off x="2842236" y="5352996"/>
                <a:ext cx="1265758" cy="628145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F541D17C-A7D3-4ABE-BD68-85470CEBA0DB}"/>
                  </a:ext>
                </a:extLst>
              </p:cNvPr>
              <p:cNvSpPr txBox="1"/>
              <p:nvPr/>
            </p:nvSpPr>
            <p:spPr>
              <a:xfrm>
                <a:off x="4284505" y="5356013"/>
                <a:ext cx="588305" cy="2877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CH" b="1" dirty="0">
                    <a:solidFill>
                      <a:schemeClr val="bg1">
                        <a:lumMod val="50000"/>
                      </a:schemeClr>
                    </a:solidFill>
                  </a:rPr>
                  <a:t>Server</a:t>
                </a:r>
                <a:endParaRPr lang="en-GB" b="1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pic>
            <p:nvPicPr>
              <p:cNvPr id="36" name="Graphic 35" descr="Statistics with solid fill">
                <a:extLst>
                  <a:ext uri="{FF2B5EF4-FFF2-40B4-BE49-F238E27FC236}">
                    <a16:creationId xmlns:a16="http://schemas.microsoft.com/office/drawing/2014/main" id="{81CAD4F0-AC29-474A-B9C3-EF2CD556D8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5980546" y="4669377"/>
                <a:ext cx="715818" cy="715818"/>
              </a:xfrm>
              <a:prstGeom prst="rect">
                <a:avLst/>
              </a:prstGeom>
            </p:spPr>
          </p:pic>
          <p:cxnSp>
            <p:nvCxnSpPr>
              <p:cNvPr id="37" name="Straight Arrow Connector 36">
                <a:extLst>
                  <a:ext uri="{FF2B5EF4-FFF2-40B4-BE49-F238E27FC236}">
                    <a16:creationId xmlns:a16="http://schemas.microsoft.com/office/drawing/2014/main" id="{4DDC3760-9CE6-41FC-8028-417025F35F28}"/>
                  </a:ext>
                </a:extLst>
              </p:cNvPr>
              <p:cNvCxnSpPr>
                <a:cxnSpLocks/>
                <a:stCxn id="18" idx="3"/>
                <a:endCxn id="36" idx="1"/>
              </p:cNvCxnSpPr>
              <p:nvPr/>
            </p:nvCxnSpPr>
            <p:spPr bwMode="auto">
              <a:xfrm>
                <a:off x="4976091" y="5027286"/>
                <a:ext cx="1004455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844F2DE0-C5CF-4E9A-8C40-80832C78EB52}"/>
                  </a:ext>
                </a:extLst>
              </p:cNvPr>
              <p:cNvSpPr txBox="1"/>
              <p:nvPr/>
            </p:nvSpPr>
            <p:spPr>
              <a:xfrm>
                <a:off x="6016448" y="5385195"/>
                <a:ext cx="748326" cy="2877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CH" b="1" dirty="0">
                    <a:solidFill>
                      <a:schemeClr val="bg1">
                        <a:lumMod val="50000"/>
                      </a:schemeClr>
                    </a:solidFill>
                  </a:rPr>
                  <a:t>Analytics</a:t>
                </a:r>
                <a:endParaRPr lang="en-GB" b="1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</p:grp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74AAF497-5C49-46C1-A657-7A757F6B4C02}"/>
                </a:ext>
              </a:extLst>
            </p:cNvPr>
            <p:cNvSpPr/>
            <p:nvPr/>
          </p:nvSpPr>
          <p:spPr bwMode="auto">
            <a:xfrm>
              <a:off x="1838036" y="3786909"/>
              <a:ext cx="4830619" cy="2456057"/>
            </a:xfrm>
            <a:prstGeom prst="rect">
              <a:avLst/>
            </a:prstGeom>
            <a:noFill/>
            <a:ln w="9525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266700" marR="0" indent="-26670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Wingdings" pitchFamily="2" charset="2"/>
                <a:buNone/>
                <a:tabLst/>
              </a:pPr>
              <a:endParaRPr kumimoji="0" lang="en-GB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redit Suisse Type Light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36965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ap&#10;&#10;Description automatically generated">
            <a:extLst>
              <a:ext uri="{FF2B5EF4-FFF2-40B4-BE49-F238E27FC236}">
                <a16:creationId xmlns:a16="http://schemas.microsoft.com/office/drawing/2014/main" id="{68BA59E9-80F8-4A74-AB7D-8C9C7E8283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8360" y="1130279"/>
            <a:ext cx="3443408" cy="2290266"/>
          </a:xfrm>
          <a:prstGeom prst="rect">
            <a:avLst/>
          </a:prstGeom>
        </p:spPr>
      </p:pic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A4E25D40-A370-4F1B-A56F-CAD8049434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879" y="1130279"/>
            <a:ext cx="3672911" cy="229872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3161314-2B4D-4D96-90D4-CE4F22C3E7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800" y="44450"/>
            <a:ext cx="835342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defTabSz="728663">
              <a:spcBef>
                <a:spcPct val="0"/>
              </a:spcBef>
              <a:buClrTx/>
              <a:buSzTx/>
              <a:buFontTx/>
              <a:buNone/>
            </a:pPr>
            <a:r>
              <a:rPr lang="en-GB" sz="2000" b="1" dirty="0">
                <a:solidFill>
                  <a:srgbClr val="003868"/>
                </a:solidFill>
              </a:rPr>
              <a:t>Trash bins – The ideal route</a:t>
            </a:r>
            <a:br>
              <a:rPr lang="en-US" sz="2600" b="1" dirty="0">
                <a:solidFill>
                  <a:srgbClr val="003868"/>
                </a:solidFill>
              </a:rPr>
            </a:br>
            <a:r>
              <a:rPr lang="en-US" sz="1600" dirty="0">
                <a:solidFill>
                  <a:srgbClr val="9186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ult for Switzerland and Winterthur</a:t>
            </a:r>
          </a:p>
        </p:txBody>
      </p:sp>
      <p:pic>
        <p:nvPicPr>
          <p:cNvPr id="5" name="Picture 4" descr="Chart, bar chart&#10;&#10;Description automatically generated">
            <a:extLst>
              <a:ext uri="{FF2B5EF4-FFF2-40B4-BE49-F238E27FC236}">
                <a16:creationId xmlns:a16="http://schemas.microsoft.com/office/drawing/2014/main" id="{C383E8B5-F1C1-4AFB-8CC5-885B37A3F3A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8360" y="3714749"/>
            <a:ext cx="2766222" cy="2338549"/>
          </a:xfrm>
          <a:prstGeom prst="rect">
            <a:avLst/>
          </a:prstGeom>
        </p:spPr>
      </p:pic>
      <p:pic>
        <p:nvPicPr>
          <p:cNvPr id="6" name="Picture 5" descr="Chart, bar chart&#10;&#10;Description automatically generated">
            <a:extLst>
              <a:ext uri="{FF2B5EF4-FFF2-40B4-BE49-F238E27FC236}">
                <a16:creationId xmlns:a16="http://schemas.microsoft.com/office/drawing/2014/main" id="{2252277D-F498-449B-8D38-8FF9537F3EF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879" y="3714750"/>
            <a:ext cx="2858870" cy="212064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6530C84-31CE-4C68-B44E-51F57EB92490}"/>
              </a:ext>
            </a:extLst>
          </p:cNvPr>
          <p:cNvSpPr txBox="1"/>
          <p:nvPr/>
        </p:nvSpPr>
        <p:spPr>
          <a:xfrm>
            <a:off x="615879" y="6016982"/>
            <a:ext cx="1478290" cy="3631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rigin:       Winterthur</a:t>
            </a:r>
          </a:p>
          <a:p>
            <a:r>
              <a:rPr lang="de-CH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rash bins: Capital Cities</a:t>
            </a:r>
            <a:endParaRPr lang="en-GB" sz="8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67A7603-0170-4094-BA56-EB1CB4B099D3}"/>
              </a:ext>
            </a:extLst>
          </p:cNvPr>
          <p:cNvSpPr txBox="1"/>
          <p:nvPr/>
        </p:nvSpPr>
        <p:spPr>
          <a:xfrm>
            <a:off x="4798360" y="6016982"/>
            <a:ext cx="1864613" cy="3631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rigin:       Verbrennungsanlage</a:t>
            </a:r>
          </a:p>
          <a:p>
            <a:r>
              <a:rPr lang="de-CH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rash bins: Random locations</a:t>
            </a:r>
            <a:endParaRPr lang="en-GB" sz="8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51520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4"/>
          <p:cNvSpPr>
            <a:spLocks noChangeArrowheads="1"/>
          </p:cNvSpPr>
          <p:nvPr/>
        </p:nvSpPr>
        <p:spPr bwMode="auto">
          <a:xfrm>
            <a:off x="250825" y="404813"/>
            <a:ext cx="86264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defTabSz="728663">
              <a:spcBef>
                <a:spcPct val="0"/>
              </a:spcBef>
              <a:buClrTx/>
              <a:buSzTx/>
              <a:buFontTx/>
              <a:buNone/>
            </a:pPr>
            <a:endParaRPr lang="en-US" sz="1800" b="1">
              <a:solidFill>
                <a:srgbClr val="003868"/>
              </a:solidFill>
            </a:endParaRPr>
          </a:p>
        </p:txBody>
      </p:sp>
      <p:sp>
        <p:nvSpPr>
          <p:cNvPr id="4099" name="Rectangle 2"/>
          <p:cNvSpPr>
            <a:spLocks noChangeArrowheads="1"/>
          </p:cNvSpPr>
          <p:nvPr/>
        </p:nvSpPr>
        <p:spPr bwMode="auto">
          <a:xfrm>
            <a:off x="431800" y="44450"/>
            <a:ext cx="835342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defTabSz="728663">
              <a:spcBef>
                <a:spcPct val="0"/>
              </a:spcBef>
              <a:buClrTx/>
              <a:buSzTx/>
              <a:buFontTx/>
              <a:buNone/>
            </a:pPr>
            <a:r>
              <a:rPr lang="en-GB" sz="2000" b="1" dirty="0">
                <a:solidFill>
                  <a:srgbClr val="003868"/>
                </a:solidFill>
              </a:rPr>
              <a:t>Trash bins – The ideal route</a:t>
            </a:r>
            <a:br>
              <a:rPr lang="en-US" sz="2600" b="1" dirty="0">
                <a:solidFill>
                  <a:srgbClr val="003868"/>
                </a:solidFill>
              </a:rPr>
            </a:br>
            <a:r>
              <a:rPr lang="en-US" sz="1600" dirty="0">
                <a:solidFill>
                  <a:srgbClr val="9186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xt diagram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E9684B7-45D7-4802-80A2-7BDB5AB88A0A}"/>
              </a:ext>
            </a:extLst>
          </p:cNvPr>
          <p:cNvSpPr/>
          <p:nvPr/>
        </p:nvSpPr>
        <p:spPr>
          <a:xfrm>
            <a:off x="659102" y="1126836"/>
            <a:ext cx="7921479" cy="5230991"/>
          </a:xfrm>
          <a:prstGeom prst="rect">
            <a:avLst/>
          </a:prstGeom>
          <a:solidFill>
            <a:schemeClr val="bg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FECB6C4E-2F24-49F1-8073-2112D1462D87}"/>
              </a:ext>
            </a:extLst>
          </p:cNvPr>
          <p:cNvGrpSpPr/>
          <p:nvPr/>
        </p:nvGrpSpPr>
        <p:grpSpPr>
          <a:xfrm>
            <a:off x="659102" y="1018164"/>
            <a:ext cx="7649787" cy="5230991"/>
            <a:chOff x="659103" y="949584"/>
            <a:chExt cx="7958424" cy="5647296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205CF8B1-BB9D-417D-8A1D-4B448BF9F2C8}"/>
                </a:ext>
              </a:extLst>
            </p:cNvPr>
            <p:cNvSpPr/>
            <p:nvPr/>
          </p:nvSpPr>
          <p:spPr>
            <a:xfrm>
              <a:off x="659103" y="949584"/>
              <a:ext cx="7958424" cy="5647296"/>
            </a:xfrm>
            <a:prstGeom prst="rect">
              <a:avLst/>
            </a:prstGeom>
            <a:solidFill>
              <a:schemeClr val="bg1"/>
            </a:solidFill>
            <a:ln w="158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7E4DF238-3AFB-429B-88AA-8E54FD5B925D}"/>
                </a:ext>
              </a:extLst>
            </p:cNvPr>
            <p:cNvSpPr/>
            <p:nvPr/>
          </p:nvSpPr>
          <p:spPr>
            <a:xfrm>
              <a:off x="798256" y="2347460"/>
              <a:ext cx="2078095" cy="351763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676DBDF2-33BE-4C16-8EE3-72B488EFB91C}"/>
                </a:ext>
              </a:extLst>
            </p:cNvPr>
            <p:cNvSpPr/>
            <p:nvPr/>
          </p:nvSpPr>
          <p:spPr>
            <a:xfrm>
              <a:off x="798256" y="1304923"/>
              <a:ext cx="7720903" cy="10102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382FA17F-3A8F-4158-91BC-D80F69C9137F}"/>
                </a:ext>
              </a:extLst>
            </p:cNvPr>
            <p:cNvSpPr/>
            <p:nvPr/>
          </p:nvSpPr>
          <p:spPr>
            <a:xfrm>
              <a:off x="1152079" y="3916260"/>
              <a:ext cx="1278088" cy="4136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ensor data </a:t>
              </a:r>
              <a:b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nalytics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535EDD50-BB77-4398-BBDF-C92A825432AB}"/>
                </a:ext>
              </a:extLst>
            </p:cNvPr>
            <p:cNvGrpSpPr/>
            <p:nvPr/>
          </p:nvGrpSpPr>
          <p:grpSpPr>
            <a:xfrm>
              <a:off x="1409140" y="1368420"/>
              <a:ext cx="856326" cy="881077"/>
              <a:chOff x="5181600" y="2057400"/>
              <a:chExt cx="914400" cy="1210361"/>
            </a:xfrm>
          </p:grpSpPr>
          <p:pic>
            <p:nvPicPr>
              <p:cNvPr id="140" name="Graphic 139" descr="Server with solid fill">
                <a:extLst>
                  <a:ext uri="{FF2B5EF4-FFF2-40B4-BE49-F238E27FC236}">
                    <a16:creationId xmlns:a16="http://schemas.microsoft.com/office/drawing/2014/main" id="{CDCBAB35-E9E4-4CBF-AC20-EE36E5073E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141" name="TextBox 140">
                <a:extLst>
                  <a:ext uri="{FF2B5EF4-FFF2-40B4-BE49-F238E27FC236}">
                    <a16:creationId xmlns:a16="http://schemas.microsoft.com/office/drawing/2014/main" id="{6CBF4928-4AE8-4B0E-B205-76DB6A9D51D1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763767" cy="29596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Client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cxnSp>
          <p:nvCxnSpPr>
            <p:cNvPr id="95" name="Straight Arrow Connector 94">
              <a:extLst>
                <a:ext uri="{FF2B5EF4-FFF2-40B4-BE49-F238E27FC236}">
                  <a16:creationId xmlns:a16="http://schemas.microsoft.com/office/drawing/2014/main" id="{138812A4-5590-403D-B397-337281120D78}"/>
                </a:ext>
              </a:extLst>
            </p:cNvPr>
            <p:cNvCxnSpPr>
              <a:cxnSpLocks/>
              <a:stCxn id="140" idx="3"/>
              <a:endCxn id="138" idx="1"/>
            </p:cNvCxnSpPr>
            <p:nvPr/>
          </p:nvCxnSpPr>
          <p:spPr>
            <a:xfrm>
              <a:off x="2265466" y="1701237"/>
              <a:ext cx="5095057" cy="0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CBBD7970-97C7-481B-BF4B-08EF3D2BBFF1}"/>
                </a:ext>
              </a:extLst>
            </p:cNvPr>
            <p:cNvSpPr txBox="1"/>
            <p:nvPr/>
          </p:nvSpPr>
          <p:spPr>
            <a:xfrm>
              <a:off x="3655721" y="1468348"/>
              <a:ext cx="122180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ensor Data (JSON)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E2E7B973-677D-4FA8-A3F9-A28E62AFFED7}"/>
                </a:ext>
              </a:extLst>
            </p:cNvPr>
            <p:cNvSpPr/>
            <p:nvPr/>
          </p:nvSpPr>
          <p:spPr>
            <a:xfrm>
              <a:off x="1152079" y="4636043"/>
              <a:ext cx="1278089" cy="3600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eo Coordinates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Evaluation 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98" name="Straight Arrow Connector 97">
              <a:extLst>
                <a:ext uri="{FF2B5EF4-FFF2-40B4-BE49-F238E27FC236}">
                  <a16:creationId xmlns:a16="http://schemas.microsoft.com/office/drawing/2014/main" id="{95B295F1-553A-4E60-8077-29DEC3702523}"/>
                </a:ext>
              </a:extLst>
            </p:cNvPr>
            <p:cNvCxnSpPr>
              <a:cxnSpLocks/>
              <a:stCxn id="93" idx="2"/>
              <a:endCxn id="97" idx="0"/>
            </p:cNvCxnSpPr>
            <p:nvPr/>
          </p:nvCxnSpPr>
          <p:spPr>
            <a:xfrm>
              <a:off x="1791123" y="4329883"/>
              <a:ext cx="1" cy="30616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2510046B-29BB-42C0-9AEB-2CD554CA4F3D}"/>
                </a:ext>
              </a:extLst>
            </p:cNvPr>
            <p:cNvSpPr txBox="1"/>
            <p:nvPr/>
          </p:nvSpPr>
          <p:spPr>
            <a:xfrm>
              <a:off x="737474" y="1052275"/>
              <a:ext cx="247650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Trash bin - Applica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A4A31E7A-CDFC-4802-8ECE-7D3C37B14479}"/>
                </a:ext>
              </a:extLst>
            </p:cNvPr>
            <p:cNvSpPr txBox="1"/>
            <p:nvPr/>
          </p:nvSpPr>
          <p:spPr>
            <a:xfrm>
              <a:off x="3655721" y="1706737"/>
              <a:ext cx="199445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Filling level / IoT Component St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08C5A066-EFB7-4DED-9BFF-ECC6B6299B0B}"/>
                </a:ext>
              </a:extLst>
            </p:cNvPr>
            <p:cNvGrpSpPr/>
            <p:nvPr/>
          </p:nvGrpSpPr>
          <p:grpSpPr>
            <a:xfrm>
              <a:off x="7360523" y="1368420"/>
              <a:ext cx="856326" cy="881077"/>
              <a:chOff x="5181600" y="2057400"/>
              <a:chExt cx="914400" cy="1210361"/>
            </a:xfrm>
          </p:grpSpPr>
          <p:pic>
            <p:nvPicPr>
              <p:cNvPr id="138" name="Graphic 137" descr="Server with solid fill">
                <a:extLst>
                  <a:ext uri="{FF2B5EF4-FFF2-40B4-BE49-F238E27FC236}">
                    <a16:creationId xmlns:a16="http://schemas.microsoft.com/office/drawing/2014/main" id="{CB1840D6-9B49-41DA-993D-824E73E630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7FD8FE01-CA52-421B-BDCA-F4A836702836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809983" cy="29596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Server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760743FE-0FEB-44C1-A9A1-90FCB746FF0E}"/>
                </a:ext>
              </a:extLst>
            </p:cNvPr>
            <p:cNvSpPr/>
            <p:nvPr/>
          </p:nvSpPr>
          <p:spPr>
            <a:xfrm>
              <a:off x="2921198" y="2347459"/>
              <a:ext cx="4087194" cy="210025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9261368A-8BA9-4729-849A-946A1CDE9BBE}"/>
                </a:ext>
              </a:extLst>
            </p:cNvPr>
            <p:cNvGrpSpPr/>
            <p:nvPr/>
          </p:nvGrpSpPr>
          <p:grpSpPr>
            <a:xfrm>
              <a:off x="3213975" y="2471746"/>
              <a:ext cx="857870" cy="1028809"/>
              <a:chOff x="5181600" y="2057400"/>
              <a:chExt cx="916048" cy="1413304"/>
            </a:xfrm>
          </p:grpSpPr>
          <p:pic>
            <p:nvPicPr>
              <p:cNvPr id="136" name="Graphic 135" descr="Server with solid fill">
                <a:extLst>
                  <a:ext uri="{FF2B5EF4-FFF2-40B4-BE49-F238E27FC236}">
                    <a16:creationId xmlns:a16="http://schemas.microsoft.com/office/drawing/2014/main" id="{9DC144CC-57B7-4291-80D9-C225DB25BB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F4D9FB97-C518-4E96-9B50-57E532F0AAC3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887011" cy="49890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Stream </a:t>
                </a:r>
              </a:p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Consumer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cxnSp>
          <p:nvCxnSpPr>
            <p:cNvPr id="104" name="Straight Arrow Connector 103">
              <a:extLst>
                <a:ext uri="{FF2B5EF4-FFF2-40B4-BE49-F238E27FC236}">
                  <a16:creationId xmlns:a16="http://schemas.microsoft.com/office/drawing/2014/main" id="{E4BE462E-2BE3-43DA-A1B6-3EF561BA138D}"/>
                </a:ext>
              </a:extLst>
            </p:cNvPr>
            <p:cNvCxnSpPr>
              <a:cxnSpLocks/>
              <a:stCxn id="136" idx="3"/>
              <a:endCxn id="134" idx="1"/>
            </p:cNvCxnSpPr>
            <p:nvPr/>
          </p:nvCxnSpPr>
          <p:spPr>
            <a:xfrm flipV="1">
              <a:off x="4070302" y="2803871"/>
              <a:ext cx="1886104" cy="692"/>
            </a:xfrm>
            <a:prstGeom prst="straightConnector1">
              <a:avLst/>
            </a:prstGeom>
            <a:ln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F0F6A08A-F004-47D4-A0E2-BB2A66DDA142}"/>
                </a:ext>
              </a:extLst>
            </p:cNvPr>
            <p:cNvGrpSpPr/>
            <p:nvPr/>
          </p:nvGrpSpPr>
          <p:grpSpPr>
            <a:xfrm>
              <a:off x="5956406" y="2471054"/>
              <a:ext cx="857870" cy="1028808"/>
              <a:chOff x="5181600" y="2057400"/>
              <a:chExt cx="916047" cy="1413304"/>
            </a:xfrm>
          </p:grpSpPr>
          <p:pic>
            <p:nvPicPr>
              <p:cNvPr id="134" name="Graphic 133" descr="Server with solid fill">
                <a:extLst>
                  <a:ext uri="{FF2B5EF4-FFF2-40B4-BE49-F238E27FC236}">
                    <a16:creationId xmlns:a16="http://schemas.microsoft.com/office/drawing/2014/main" id="{BCE6C733-34E9-4171-A239-F1CEF7F45B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81600" y="2057400"/>
                <a:ext cx="914400" cy="914400"/>
              </a:xfrm>
              <a:prstGeom prst="rect">
                <a:avLst/>
              </a:prstGeom>
            </p:spPr>
          </p:pic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CDF76055-3FEE-4096-B36D-1C5251E7492B}"/>
                  </a:ext>
                </a:extLst>
              </p:cNvPr>
              <p:cNvSpPr txBox="1"/>
              <p:nvPr/>
            </p:nvSpPr>
            <p:spPr>
              <a:xfrm>
                <a:off x="5210637" y="2971799"/>
                <a:ext cx="887010" cy="49890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CP Stream </a:t>
                </a:r>
              </a:p>
              <a:p>
                <a:pPr algn="ctr"/>
                <a:r>
                  <a:rPr lang="de-CH" sz="800" dirty="0">
                    <a:solidFill>
                      <a:schemeClr val="bg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Producer</a:t>
                </a:r>
                <a:endParaRPr lang="en-GB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cxnSp>
          <p:nvCxnSpPr>
            <p:cNvPr id="106" name="Straight Arrow Connector 105">
              <a:extLst>
                <a:ext uri="{FF2B5EF4-FFF2-40B4-BE49-F238E27FC236}">
                  <a16:creationId xmlns:a16="http://schemas.microsoft.com/office/drawing/2014/main" id="{082BC80A-C3FB-44ED-91B2-18D996E0D496}"/>
                </a:ext>
              </a:extLst>
            </p:cNvPr>
            <p:cNvCxnSpPr>
              <a:cxnSpLocks/>
              <a:stCxn id="141" idx="2"/>
              <a:endCxn id="93" idx="0"/>
            </p:cNvCxnSpPr>
            <p:nvPr/>
          </p:nvCxnSpPr>
          <p:spPr>
            <a:xfrm flipH="1">
              <a:off x="1791123" y="2249497"/>
              <a:ext cx="2840" cy="166676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AA7D2CE0-DE38-45C1-B42F-BB994810132A}"/>
                </a:ext>
              </a:extLst>
            </p:cNvPr>
            <p:cNvSpPr/>
            <p:nvPr/>
          </p:nvSpPr>
          <p:spPr>
            <a:xfrm>
              <a:off x="3246981" y="3916260"/>
              <a:ext cx="1278088" cy="4136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ensor data </a:t>
              </a:r>
              <a:b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tream Analytics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1522F9DB-6F06-4ABC-9563-6E060560B2E4}"/>
                </a:ext>
              </a:extLst>
            </p:cNvPr>
            <p:cNvSpPr txBox="1"/>
            <p:nvPr/>
          </p:nvSpPr>
          <p:spPr>
            <a:xfrm>
              <a:off x="4092628" y="2583351"/>
              <a:ext cx="186781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24h Sensor Data Stream (JSON)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10F2C133-2573-464E-98AA-460B74B1A1C5}"/>
                </a:ext>
              </a:extLst>
            </p:cNvPr>
            <p:cNvSpPr txBox="1"/>
            <p:nvPr/>
          </p:nvSpPr>
          <p:spPr>
            <a:xfrm>
              <a:off x="4105201" y="2827950"/>
              <a:ext cx="199445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Filling level / IoT Component St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17DC26B1-F859-415C-9FB8-33F3513D7737}"/>
                </a:ext>
              </a:extLst>
            </p:cNvPr>
            <p:cNvSpPr/>
            <p:nvPr/>
          </p:nvSpPr>
          <p:spPr>
            <a:xfrm>
              <a:off x="5393865" y="3916260"/>
              <a:ext cx="1278088" cy="4136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nalytics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ashboard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111" name="Straight Arrow Connector 110">
              <a:extLst>
                <a:ext uri="{FF2B5EF4-FFF2-40B4-BE49-F238E27FC236}">
                  <a16:creationId xmlns:a16="http://schemas.microsoft.com/office/drawing/2014/main" id="{BDA7E489-1284-4907-8C4F-9E576049050E}"/>
                </a:ext>
              </a:extLst>
            </p:cNvPr>
            <p:cNvCxnSpPr>
              <a:cxnSpLocks/>
              <a:stCxn id="107" idx="3"/>
              <a:endCxn id="110" idx="1"/>
            </p:cNvCxnSpPr>
            <p:nvPr/>
          </p:nvCxnSpPr>
          <p:spPr>
            <a:xfrm>
              <a:off x="4525069" y="4123072"/>
              <a:ext cx="86879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12D95124-1743-4C76-BBCE-DB51C9BF40B5}"/>
                </a:ext>
              </a:extLst>
            </p:cNvPr>
            <p:cNvCxnSpPr>
              <a:stCxn id="93" idx="3"/>
              <a:endCxn id="107" idx="1"/>
            </p:cNvCxnSpPr>
            <p:nvPr/>
          </p:nvCxnSpPr>
          <p:spPr bwMode="auto">
            <a:xfrm>
              <a:off x="2430167" y="4123072"/>
              <a:ext cx="816814" cy="0"/>
            </a:xfrm>
            <a:prstGeom prst="line">
              <a:avLst/>
            </a:prstGeom>
            <a:ln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44A550A1-C563-4788-8AC9-7A3803036A08}"/>
                </a:ext>
              </a:extLst>
            </p:cNvPr>
            <p:cNvSpPr/>
            <p:nvPr/>
          </p:nvSpPr>
          <p:spPr>
            <a:xfrm>
              <a:off x="2928738" y="4483514"/>
              <a:ext cx="4087194" cy="138157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794F485B-1BB7-45C0-BF7E-DC5E630920C2}"/>
                </a:ext>
              </a:extLst>
            </p:cNvPr>
            <p:cNvSpPr/>
            <p:nvPr/>
          </p:nvSpPr>
          <p:spPr>
            <a:xfrm>
              <a:off x="4280835" y="4605065"/>
              <a:ext cx="1278089" cy="42219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ptimal Route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Calcul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115" name="Straight Arrow Connector 114">
              <a:extLst>
                <a:ext uri="{FF2B5EF4-FFF2-40B4-BE49-F238E27FC236}">
                  <a16:creationId xmlns:a16="http://schemas.microsoft.com/office/drawing/2014/main" id="{C3AF00DB-6FDA-4A87-B847-FE0CFE0AD929}"/>
                </a:ext>
              </a:extLst>
            </p:cNvPr>
            <p:cNvCxnSpPr>
              <a:cxnSpLocks/>
              <a:stCxn id="97" idx="3"/>
              <a:endCxn id="114" idx="1"/>
            </p:cNvCxnSpPr>
            <p:nvPr/>
          </p:nvCxnSpPr>
          <p:spPr>
            <a:xfrm>
              <a:off x="2430168" y="4816064"/>
              <a:ext cx="1850667" cy="1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C956EC66-3550-478C-8A5B-45CD5CF4FAEC}"/>
                </a:ext>
              </a:extLst>
            </p:cNvPr>
            <p:cNvSpPr/>
            <p:nvPr/>
          </p:nvSpPr>
          <p:spPr>
            <a:xfrm>
              <a:off x="4943403" y="5347637"/>
              <a:ext cx="1278089" cy="3755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irections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Calcula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F0399AA7-4C28-4F7F-B823-11661141CF1E}"/>
                </a:ext>
              </a:extLst>
            </p:cNvPr>
            <p:cNvSpPr/>
            <p:nvPr/>
          </p:nvSpPr>
          <p:spPr>
            <a:xfrm>
              <a:off x="3545665" y="5357404"/>
              <a:ext cx="1278089" cy="3755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istance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Calcula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118" name="Connector: Elbow 117">
              <a:extLst>
                <a:ext uri="{FF2B5EF4-FFF2-40B4-BE49-F238E27FC236}">
                  <a16:creationId xmlns:a16="http://schemas.microsoft.com/office/drawing/2014/main" id="{F57F3B19-12CF-493A-848A-5FD8462BC27A}"/>
                </a:ext>
              </a:extLst>
            </p:cNvPr>
            <p:cNvCxnSpPr>
              <a:stCxn id="114" idx="2"/>
              <a:endCxn id="117" idx="0"/>
            </p:cNvCxnSpPr>
            <p:nvPr/>
          </p:nvCxnSpPr>
          <p:spPr bwMode="auto">
            <a:xfrm rot="5400000">
              <a:off x="4387224" y="4824748"/>
              <a:ext cx="330142" cy="735170"/>
            </a:xfrm>
            <a:prstGeom prst="bentConnector3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Connector: Elbow 118">
              <a:extLst>
                <a:ext uri="{FF2B5EF4-FFF2-40B4-BE49-F238E27FC236}">
                  <a16:creationId xmlns:a16="http://schemas.microsoft.com/office/drawing/2014/main" id="{EE32DDDE-8619-4242-BD2F-27FCBD0273F5}"/>
                </a:ext>
              </a:extLst>
            </p:cNvPr>
            <p:cNvCxnSpPr>
              <a:cxnSpLocks/>
              <a:endCxn id="116" idx="0"/>
            </p:cNvCxnSpPr>
            <p:nvPr/>
          </p:nvCxnSpPr>
          <p:spPr bwMode="auto">
            <a:xfrm>
              <a:off x="4912340" y="5190410"/>
              <a:ext cx="670108" cy="157227"/>
            </a:xfrm>
            <a:prstGeom prst="bentConnector2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Connector: Elbow 119">
              <a:extLst>
                <a:ext uri="{FF2B5EF4-FFF2-40B4-BE49-F238E27FC236}">
                  <a16:creationId xmlns:a16="http://schemas.microsoft.com/office/drawing/2014/main" id="{A36B13EB-7D7E-4244-A0B1-39C3FA3966D2}"/>
                </a:ext>
              </a:extLst>
            </p:cNvPr>
            <p:cNvCxnSpPr>
              <a:stCxn id="137" idx="2"/>
              <a:endCxn id="107" idx="0"/>
            </p:cNvCxnSpPr>
            <p:nvPr/>
          </p:nvCxnSpPr>
          <p:spPr bwMode="auto">
            <a:xfrm rot="16200000" flipH="1">
              <a:off x="3563414" y="3593648"/>
              <a:ext cx="415705" cy="229518"/>
            </a:xfrm>
            <a:prstGeom prst="bentConnector3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2ECA2F0C-63DD-4D9E-A2BB-2FEFE9C3DEAD}"/>
                </a:ext>
              </a:extLst>
            </p:cNvPr>
            <p:cNvSpPr/>
            <p:nvPr/>
          </p:nvSpPr>
          <p:spPr>
            <a:xfrm>
              <a:off x="2928738" y="5915471"/>
              <a:ext cx="4079654" cy="50843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F95B0634-43B3-449F-B16D-3D55DFBE8793}"/>
                </a:ext>
              </a:extLst>
            </p:cNvPr>
            <p:cNvSpPr/>
            <p:nvPr/>
          </p:nvSpPr>
          <p:spPr>
            <a:xfrm>
              <a:off x="3485840" y="6006613"/>
              <a:ext cx="2675827" cy="3342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oogle - Directions \ Distance API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123" name="Straight Arrow Connector 122">
              <a:extLst>
                <a:ext uri="{FF2B5EF4-FFF2-40B4-BE49-F238E27FC236}">
                  <a16:creationId xmlns:a16="http://schemas.microsoft.com/office/drawing/2014/main" id="{FAA6003C-CAF0-4B47-B045-FA39E3B30C6C}"/>
                </a:ext>
              </a:extLst>
            </p:cNvPr>
            <p:cNvCxnSpPr>
              <a:cxnSpLocks/>
              <a:stCxn id="117" idx="2"/>
            </p:cNvCxnSpPr>
            <p:nvPr/>
          </p:nvCxnSpPr>
          <p:spPr>
            <a:xfrm>
              <a:off x="4184710" y="5732929"/>
              <a:ext cx="0" cy="27368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Arrow Connector 123">
              <a:extLst>
                <a:ext uri="{FF2B5EF4-FFF2-40B4-BE49-F238E27FC236}">
                  <a16:creationId xmlns:a16="http://schemas.microsoft.com/office/drawing/2014/main" id="{8CF03AE5-020B-4290-93F5-C0F56C45FB2A}"/>
                </a:ext>
              </a:extLst>
            </p:cNvPr>
            <p:cNvCxnSpPr>
              <a:cxnSpLocks/>
              <a:stCxn id="116" idx="2"/>
            </p:cNvCxnSpPr>
            <p:nvPr/>
          </p:nvCxnSpPr>
          <p:spPr>
            <a:xfrm>
              <a:off x="5582448" y="5723162"/>
              <a:ext cx="0" cy="29322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EE1C0B70-43DE-4921-B985-D537E062DC9A}"/>
                </a:ext>
              </a:extLst>
            </p:cNvPr>
            <p:cNvSpPr/>
            <p:nvPr/>
          </p:nvSpPr>
          <p:spPr>
            <a:xfrm rot="16200000">
              <a:off x="695339" y="2890734"/>
              <a:ext cx="1138901" cy="4136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istance Matrix</a:t>
              </a:r>
            </a:p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Pre-calcultion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126" name="Connector: Elbow 125">
              <a:extLst>
                <a:ext uri="{FF2B5EF4-FFF2-40B4-BE49-F238E27FC236}">
                  <a16:creationId xmlns:a16="http://schemas.microsoft.com/office/drawing/2014/main" id="{68A7C080-C4DF-41D6-8966-D90BBFFC3D82}"/>
                </a:ext>
              </a:extLst>
            </p:cNvPr>
            <p:cNvCxnSpPr>
              <a:cxnSpLocks/>
              <a:endCxn id="122" idx="1"/>
            </p:cNvCxnSpPr>
            <p:nvPr/>
          </p:nvCxnSpPr>
          <p:spPr bwMode="auto">
            <a:xfrm rot="16200000" flipH="1">
              <a:off x="661540" y="3349442"/>
              <a:ext cx="3075798" cy="2572802"/>
            </a:xfrm>
            <a:prstGeom prst="bentConnector2">
              <a:avLst/>
            </a:prstGeom>
            <a:ln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3CF257D-AF0B-49BB-91A2-0A42197D89E8}"/>
                </a:ext>
              </a:extLst>
            </p:cNvPr>
            <p:cNvCxnSpPr>
              <a:stCxn id="125" idx="0"/>
            </p:cNvCxnSpPr>
            <p:nvPr/>
          </p:nvCxnSpPr>
          <p:spPr bwMode="auto">
            <a:xfrm flipH="1">
              <a:off x="913037" y="3097545"/>
              <a:ext cx="144941" cy="0"/>
            </a:xfrm>
            <a:prstGeom prst="line">
              <a:avLst/>
            </a:prstGeom>
            <a:ln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651B4386-0B62-4366-A5EE-6C9005536DE3}"/>
                </a:ext>
              </a:extLst>
            </p:cNvPr>
            <p:cNvSpPr/>
            <p:nvPr/>
          </p:nvSpPr>
          <p:spPr>
            <a:xfrm>
              <a:off x="7053238" y="2353851"/>
              <a:ext cx="1469919" cy="351124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A5716BC4-A797-42D9-B9B6-D48A2115A9E8}"/>
                </a:ext>
              </a:extLst>
            </p:cNvPr>
            <p:cNvSpPr txBox="1"/>
            <p:nvPr/>
          </p:nvSpPr>
          <p:spPr>
            <a:xfrm rot="16200000">
              <a:off x="6731222" y="3055149"/>
              <a:ext cx="1540398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Reset </a:t>
              </a:r>
            </a:p>
            <a:p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- Filling level</a:t>
              </a:r>
              <a:b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- IoT Comp. State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71915738-091B-4354-A51A-6FADAB138AB4}"/>
                </a:ext>
              </a:extLst>
            </p:cNvPr>
            <p:cNvSpPr/>
            <p:nvPr/>
          </p:nvSpPr>
          <p:spPr>
            <a:xfrm>
              <a:off x="7142618" y="4604964"/>
              <a:ext cx="1278089" cy="42219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800" dirty="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Visualize optimal Route </a:t>
              </a:r>
              <a:r>
                <a:rPr lang="de-CH" sz="80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in Map</a:t>
              </a:r>
              <a:endParaRPr lang="en-GB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131" name="Straight Arrow Connector 130">
              <a:extLst>
                <a:ext uri="{FF2B5EF4-FFF2-40B4-BE49-F238E27FC236}">
                  <a16:creationId xmlns:a16="http://schemas.microsoft.com/office/drawing/2014/main" id="{E3B5DFC3-3B60-4FC6-9BD7-F8CC7051FE8B}"/>
                </a:ext>
              </a:extLst>
            </p:cNvPr>
            <p:cNvCxnSpPr>
              <a:cxnSpLocks/>
              <a:stCxn id="114" idx="3"/>
              <a:endCxn id="130" idx="1"/>
            </p:cNvCxnSpPr>
            <p:nvPr/>
          </p:nvCxnSpPr>
          <p:spPr>
            <a:xfrm flipV="1">
              <a:off x="5558924" y="4816063"/>
              <a:ext cx="1583694" cy="10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Arrow Connector 131">
              <a:extLst>
                <a:ext uri="{FF2B5EF4-FFF2-40B4-BE49-F238E27FC236}">
                  <a16:creationId xmlns:a16="http://schemas.microsoft.com/office/drawing/2014/main" id="{7AF69034-EF84-4D7B-89D4-63C214F4FFCC}"/>
                </a:ext>
              </a:extLst>
            </p:cNvPr>
            <p:cNvCxnSpPr>
              <a:cxnSpLocks/>
              <a:stCxn id="139" idx="2"/>
              <a:endCxn id="130" idx="0"/>
            </p:cNvCxnSpPr>
            <p:nvPr/>
          </p:nvCxnSpPr>
          <p:spPr>
            <a:xfrm>
              <a:off x="7766987" y="2249497"/>
              <a:ext cx="14676" cy="2355467"/>
            </a:xfrm>
            <a:prstGeom prst="straightConnector1">
              <a:avLst/>
            </a:prstGeom>
            <a:ln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Arrow Connector 132">
              <a:extLst>
                <a:ext uri="{FF2B5EF4-FFF2-40B4-BE49-F238E27FC236}">
                  <a16:creationId xmlns:a16="http://schemas.microsoft.com/office/drawing/2014/main" id="{6DBA52C0-030D-46A2-B767-E6D9A905C1E3}"/>
                </a:ext>
              </a:extLst>
            </p:cNvPr>
            <p:cNvCxnSpPr>
              <a:cxnSpLocks/>
              <a:stCxn id="125" idx="2"/>
            </p:cNvCxnSpPr>
            <p:nvPr/>
          </p:nvCxnSpPr>
          <p:spPr>
            <a:xfrm>
              <a:off x="1471601" y="3097545"/>
              <a:ext cx="319522" cy="0"/>
            </a:xfrm>
            <a:prstGeom prst="straightConnector1">
              <a:avLst/>
            </a:prstGeom>
            <a:ln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267109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C2B8-2CD1-4B03-8B89-4AAE0ED6CE19}"/>
              </a:ext>
            </a:extLst>
          </p:cNvPr>
          <p:cNvSpPr txBox="1"/>
          <p:nvPr/>
        </p:nvSpPr>
        <p:spPr>
          <a:xfrm>
            <a:off x="1327150" y="1771650"/>
            <a:ext cx="5126340" cy="27392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8000" dirty="0"/>
              <a:t>Application </a:t>
            </a:r>
            <a:br>
              <a:rPr lang="de-CH" sz="8000" dirty="0"/>
            </a:br>
            <a:r>
              <a:rPr lang="de-CH" sz="8000" dirty="0"/>
              <a:t>Demo </a:t>
            </a:r>
          </a:p>
          <a:p>
            <a:r>
              <a:rPr lang="de-CH" dirty="0"/>
              <a:t> </a:t>
            </a:r>
            <a:endParaRPr lang="en-GB" dirty="0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588BBBAD-F91D-4408-B7BB-2B3C06679F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800" y="44450"/>
            <a:ext cx="835342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defTabSz="728663">
              <a:spcBef>
                <a:spcPct val="0"/>
              </a:spcBef>
              <a:buClrTx/>
              <a:buSzTx/>
              <a:buFontTx/>
              <a:buNone/>
            </a:pPr>
            <a:r>
              <a:rPr lang="en-GB" sz="2000" b="1" dirty="0">
                <a:solidFill>
                  <a:srgbClr val="003868"/>
                </a:solidFill>
              </a:rPr>
              <a:t>Trash bins – The ideal route</a:t>
            </a:r>
            <a:br>
              <a:rPr lang="en-US" sz="2600" b="1" dirty="0">
                <a:solidFill>
                  <a:srgbClr val="003868"/>
                </a:solidFill>
              </a:rPr>
            </a:br>
            <a:r>
              <a:rPr lang="en-US" sz="1600" dirty="0">
                <a:solidFill>
                  <a:srgbClr val="9186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pplication Demo</a:t>
            </a:r>
          </a:p>
        </p:txBody>
      </p:sp>
    </p:spTree>
    <p:extLst>
      <p:ext uri="{BB962C8B-B14F-4D97-AF65-F5344CB8AC3E}">
        <p14:creationId xmlns:p14="http://schemas.microsoft.com/office/powerpoint/2010/main" val="15980459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C8C386D-5EAB-4EDF-989C-DF927C8170B5}"/>
              </a:ext>
            </a:extLst>
          </p:cNvPr>
          <p:cNvSpPr txBox="1"/>
          <p:nvPr/>
        </p:nvSpPr>
        <p:spPr>
          <a:xfrm>
            <a:off x="431800" y="1005185"/>
            <a:ext cx="7600950" cy="38164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ocal infrastructure setup </a:t>
            </a:r>
            <a:b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 </a:t>
            </a:r>
            <a:r>
              <a:rPr lang="en-GB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ark / Hadoop</a:t>
            </a:r>
            <a:endParaRPr lang="en-GB" b="1" dirty="0">
              <a:solidFill>
                <a:srgbClr val="00386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source </a:t>
            </a:r>
            <a:b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 </a:t>
            </a:r>
            <a:r>
              <a:rPr lang="en-GB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6 locations + Origin (Switzerland / Winterthur)</a:t>
            </a:r>
            <a:br>
              <a:rPr lang="en-GB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 </a:t>
            </a:r>
            <a:r>
              <a:rPr lang="en-GB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nual creation of data source 24h</a:t>
            </a:r>
            <a:endParaRPr lang="en-GB" b="1" dirty="0">
              <a:solidFill>
                <a:srgbClr val="59585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ptimizer algorithms</a:t>
            </a:r>
            <a:b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 </a:t>
            </a:r>
            <a:r>
              <a:rPr lang="en-GB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ptimal Route Algorithm</a:t>
            </a:r>
            <a:b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 </a:t>
            </a:r>
            <a:r>
              <a:rPr lang="en-GB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imulated Annealing Algorithm</a:t>
            </a:r>
            <a:endParaRPr lang="en-GB" b="1" dirty="0">
              <a:solidFill>
                <a:srgbClr val="00386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oogle map integration</a:t>
            </a:r>
            <a:b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 </a:t>
            </a:r>
            <a:r>
              <a:rPr lang="en-GB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rections-, Distance Matrix API Connection</a:t>
            </a:r>
            <a:br>
              <a:rPr lang="en-GB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 </a:t>
            </a:r>
            <a:r>
              <a:rPr lang="en-GB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p Integration 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CP Client / Server</a:t>
            </a:r>
            <a:br>
              <a:rPr lang="en-GB" sz="1000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 </a:t>
            </a:r>
            <a:r>
              <a:rPr lang="en-GB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or Data exchange and simulation of real behaviour</a:t>
            </a:r>
            <a:endParaRPr lang="en-GB" b="1" dirty="0">
              <a:solidFill>
                <a:srgbClr val="00386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reaming</a:t>
            </a:r>
            <a:b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 </a:t>
            </a:r>
            <a:r>
              <a:rPr lang="en-GB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shboard</a:t>
            </a:r>
            <a:br>
              <a:rPr lang="en-GB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 </a:t>
            </a:r>
            <a:r>
              <a:rPr lang="en-GB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ducer / Consumer</a:t>
            </a:r>
            <a:br>
              <a:rPr lang="en-GB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en-GB" dirty="0">
              <a:solidFill>
                <a:srgbClr val="59585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ssues </a:t>
            </a:r>
            <a:r>
              <a:rPr lang="en-GB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br>
              <a:rPr lang="en-GB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 </a:t>
            </a:r>
            <a:r>
              <a:rPr lang="en-GB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bricks migration not possible due to Infrastructure unavailability) -&gt; Community Edition a wreck </a:t>
            </a:r>
            <a:br>
              <a:rPr lang="en-GB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 </a:t>
            </a:r>
            <a:r>
              <a:rPr lang="en-GB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de bundling (building Python package)</a:t>
            </a:r>
            <a:br>
              <a:rPr lang="en-GB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 </a:t>
            </a:r>
            <a:r>
              <a:rPr lang="en-GB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stallation of </a:t>
            </a:r>
            <a: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eospatial Data Abstraction Library (GDAL)</a:t>
            </a:r>
            <a:b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GB" b="1" dirty="0">
                <a:solidFill>
                  <a:srgbClr val="00386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 </a:t>
            </a:r>
            <a:r>
              <a:rPr lang="en-GB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ne I couldn’t manage (just lots of effort)</a:t>
            </a:r>
            <a:br>
              <a:rPr lang="en-GB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en-GB" dirty="0"/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22FA5B63-6B53-4B0A-BE64-EA2563DFFD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800" y="44450"/>
            <a:ext cx="835342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defTabSz="728663">
              <a:spcBef>
                <a:spcPct val="0"/>
              </a:spcBef>
              <a:buClrTx/>
              <a:buSzTx/>
              <a:buFontTx/>
              <a:buNone/>
            </a:pPr>
            <a:r>
              <a:rPr lang="en-GB" sz="2000" b="1" dirty="0">
                <a:solidFill>
                  <a:srgbClr val="003868"/>
                </a:solidFill>
              </a:rPr>
              <a:t>Trash bins – The ideal route</a:t>
            </a:r>
            <a:br>
              <a:rPr lang="en-US" sz="2600" b="1" dirty="0">
                <a:solidFill>
                  <a:srgbClr val="003868"/>
                </a:solidFill>
              </a:rPr>
            </a:br>
            <a:r>
              <a:rPr lang="en-US" sz="1600" dirty="0">
                <a:solidFill>
                  <a:srgbClr val="9186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ject Insights / Issues</a:t>
            </a:r>
          </a:p>
        </p:txBody>
      </p:sp>
    </p:spTree>
    <p:extLst>
      <p:ext uri="{BB962C8B-B14F-4D97-AF65-F5344CB8AC3E}">
        <p14:creationId xmlns:p14="http://schemas.microsoft.com/office/powerpoint/2010/main" val="1703986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4"/>
          <p:cNvSpPr>
            <a:spLocks noChangeArrowheads="1"/>
          </p:cNvSpPr>
          <p:nvPr/>
        </p:nvSpPr>
        <p:spPr bwMode="auto">
          <a:xfrm>
            <a:off x="250825" y="404813"/>
            <a:ext cx="86264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defTabSz="728663">
              <a:spcBef>
                <a:spcPct val="0"/>
              </a:spcBef>
              <a:buClrTx/>
              <a:buSzTx/>
              <a:buFontTx/>
              <a:buNone/>
            </a:pPr>
            <a:endParaRPr lang="en-US" sz="1800" b="1">
              <a:solidFill>
                <a:srgbClr val="003868"/>
              </a:solidFill>
            </a:endParaRPr>
          </a:p>
        </p:txBody>
      </p:sp>
      <p:sp>
        <p:nvSpPr>
          <p:cNvPr id="4099" name="Rectangle 2"/>
          <p:cNvSpPr>
            <a:spLocks noChangeArrowheads="1"/>
          </p:cNvSpPr>
          <p:nvPr/>
        </p:nvSpPr>
        <p:spPr bwMode="auto">
          <a:xfrm>
            <a:off x="431800" y="44450"/>
            <a:ext cx="835342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defTabSz="728663">
              <a:spcBef>
                <a:spcPct val="0"/>
              </a:spcBef>
              <a:buClrTx/>
              <a:buSzTx/>
              <a:buFontTx/>
              <a:buNone/>
            </a:pPr>
            <a:r>
              <a:rPr lang="en-GB" sz="2000" b="1" dirty="0">
                <a:solidFill>
                  <a:srgbClr val="003868"/>
                </a:solidFill>
              </a:rPr>
              <a:t>Trash bins – The ideal route</a:t>
            </a:r>
            <a:br>
              <a:rPr lang="en-US" sz="2600" b="1" dirty="0">
                <a:solidFill>
                  <a:srgbClr val="003868"/>
                </a:solidFill>
              </a:rPr>
            </a:br>
            <a:r>
              <a:rPr lang="en-US" sz="1600" dirty="0">
                <a:solidFill>
                  <a:srgbClr val="9186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clus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30323FC-558B-4C68-A426-D65A6BB4F0A0}"/>
              </a:ext>
            </a:extLst>
          </p:cNvPr>
          <p:cNvSpPr txBox="1"/>
          <p:nvPr/>
        </p:nvSpPr>
        <p:spPr>
          <a:xfrm>
            <a:off x="431539" y="1124744"/>
            <a:ext cx="8353685" cy="27515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altLang="en-US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e final Big Data Project has been a challenge overall. 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altLang="en-US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ince no streaming service exists, all data needed to be created synthetically.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altLang="en-US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eating synthetic data to simulate a data stream is tedious and time consuming. 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altLang="en-US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ut creating the foundations for a new Product and finding out that it generally works, was a delight. 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altLang="en-US" dirty="0">
              <a:solidFill>
                <a:srgbClr val="59585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buClr>
                <a:srgbClr val="C00000"/>
              </a:buClr>
            </a:pPr>
            <a:r>
              <a:rPr lang="en-US" altLang="en-US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ere are now various additional aspects, which could be considered when continuing</a:t>
            </a:r>
            <a:br>
              <a:rPr lang="en-US" altLang="en-US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altLang="en-US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with the given project as follows: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altLang="en-US" dirty="0">
              <a:solidFill>
                <a:srgbClr val="59585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5000"/>
              <a:buFont typeface="Wingdings" panose="05000000000000000000" pitchFamily="2" charset="2"/>
              <a:buChar char="§"/>
              <a:tabLst/>
            </a:pPr>
            <a:r>
              <a:rPr lang="en-US" altLang="en-US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pply Machine learning to analyze historic data and predict the futur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5000"/>
              <a:buFont typeface="Wingdings" panose="05000000000000000000" pitchFamily="2" charset="2"/>
              <a:buChar char="§"/>
              <a:tabLst/>
            </a:pPr>
            <a:r>
              <a:rPr lang="en-US" altLang="en-US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timating the time consumption for a route considering the traffic by using further google API’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5000"/>
              <a:buFont typeface="Wingdings" panose="05000000000000000000" pitchFamily="2" charset="2"/>
              <a:buChar char="§"/>
              <a:tabLst/>
            </a:pPr>
            <a:r>
              <a:rPr lang="en-US" altLang="en-US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sider the use of multiple routes and therefore additional Vehicle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5000"/>
              <a:buFont typeface="Wingdings" panose="05000000000000000000" pitchFamily="2" charset="2"/>
              <a:buChar char="§"/>
              <a:tabLst/>
            </a:pPr>
            <a:r>
              <a:rPr lang="en-US" altLang="en-US" dirty="0">
                <a:solidFill>
                  <a:srgbClr val="59585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epare a decent interactive Web Front End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altLang="en-US" dirty="0">
              <a:solidFill>
                <a:srgbClr val="59585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GB" sz="1200" dirty="0">
              <a:solidFill>
                <a:srgbClr val="59585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buClr>
                <a:srgbClr val="C00000"/>
              </a:buClr>
            </a:pPr>
            <a:r>
              <a:rPr lang="en-GB" sz="1200" b="0" i="0" dirty="0">
                <a:solidFill>
                  <a:srgbClr val="595858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 </a:t>
            </a:r>
            <a:endParaRPr lang="en-GB" sz="1200" dirty="0">
              <a:solidFill>
                <a:srgbClr val="59585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61335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4"/>
          <p:cNvSpPr>
            <a:spLocks noChangeArrowheads="1"/>
          </p:cNvSpPr>
          <p:nvPr/>
        </p:nvSpPr>
        <p:spPr bwMode="auto">
          <a:xfrm>
            <a:off x="250825" y="404813"/>
            <a:ext cx="86264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defTabSz="728663">
              <a:spcBef>
                <a:spcPct val="0"/>
              </a:spcBef>
              <a:buClrTx/>
              <a:buSzTx/>
              <a:buFontTx/>
              <a:buNone/>
            </a:pPr>
            <a:endParaRPr lang="en-US" sz="1800" b="1">
              <a:solidFill>
                <a:srgbClr val="003868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619BCAB-476D-4EC9-89B2-6E5AA93194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800" y="44450"/>
            <a:ext cx="835342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defTabSz="728663">
              <a:spcBef>
                <a:spcPct val="0"/>
              </a:spcBef>
              <a:buClrTx/>
              <a:buSzTx/>
              <a:buFontTx/>
              <a:buNone/>
            </a:pPr>
            <a:r>
              <a:rPr lang="en-GB" sz="2000" b="1" dirty="0">
                <a:solidFill>
                  <a:srgbClr val="003868"/>
                </a:solidFill>
              </a:rPr>
              <a:t>Trash bins – The ideal route</a:t>
            </a:r>
            <a:br>
              <a:rPr lang="en-US" sz="2600" b="1" dirty="0">
                <a:solidFill>
                  <a:srgbClr val="003868"/>
                </a:solidFill>
              </a:rPr>
            </a:br>
            <a:r>
              <a:rPr lang="en-US" sz="1800" dirty="0">
                <a:solidFill>
                  <a:srgbClr val="9186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Questions</a:t>
            </a:r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57FB9745-D52B-4EFC-9C14-989654CC45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3634" y="1232754"/>
            <a:ext cx="3202448" cy="1799369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x9i8xMrUWVCYhSJo9mpw"/>
</p:tagLst>
</file>

<file path=ppt/theme/theme1.xml><?xml version="1.0" encoding="utf-8"?>
<a:theme xmlns:a="http://schemas.openxmlformats.org/drawingml/2006/main" name="transition">
  <a:themeElements>
    <a:clrScheme name="CS_Transition_2003 1">
      <a:dk1>
        <a:srgbClr val="000000"/>
      </a:dk1>
      <a:lt1>
        <a:srgbClr val="FFFFFF"/>
      </a:lt1>
      <a:dk2>
        <a:srgbClr val="91867E"/>
      </a:dk2>
      <a:lt2>
        <a:srgbClr val="93C2D1"/>
      </a:lt2>
      <a:accent1>
        <a:srgbClr val="255B89"/>
      </a:accent1>
      <a:accent2>
        <a:srgbClr val="AAA19A"/>
      </a:accent2>
      <a:accent3>
        <a:srgbClr val="FFFFFF"/>
      </a:accent3>
      <a:accent4>
        <a:srgbClr val="000000"/>
      </a:accent4>
      <a:accent5>
        <a:srgbClr val="ACB5C4"/>
      </a:accent5>
      <a:accent6>
        <a:srgbClr val="9A918B"/>
      </a:accent6>
      <a:hlink>
        <a:srgbClr val="DCEBEF"/>
      </a:hlink>
      <a:folHlink>
        <a:srgbClr val="56A2B9"/>
      </a:folHlink>
    </a:clrScheme>
    <a:fontScheme name="CS_Transition_2003">
      <a:majorFont>
        <a:latin typeface="Credit Suisse Type Light"/>
        <a:ea typeface=""/>
        <a:cs typeface=""/>
      </a:majorFont>
      <a:minorFont>
        <a:latin typeface="Credit Suisse Ty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266700" marR="0" indent="-26670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tx2"/>
          </a:buClr>
          <a:buSzPct val="120000"/>
          <a:buFont typeface="Wingdings" pitchFamily="2" charset="2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redit Suisse Type Light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266700" marR="0" indent="-26670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tx2"/>
          </a:buClr>
          <a:buSzPct val="120000"/>
          <a:buFont typeface="Wingdings" pitchFamily="2" charset="2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redit Suisse Type Light" pitchFamily="34" charset="0"/>
          </a:defRPr>
        </a:defPPr>
      </a:lstStyle>
    </a:lnDef>
  </a:objectDefaults>
  <a:extraClrSchemeLst>
    <a:extraClrScheme>
      <a:clrScheme name="CS_Transition_2003 1">
        <a:dk1>
          <a:srgbClr val="000000"/>
        </a:dk1>
        <a:lt1>
          <a:srgbClr val="FFFFFF"/>
        </a:lt1>
        <a:dk2>
          <a:srgbClr val="91867E"/>
        </a:dk2>
        <a:lt2>
          <a:srgbClr val="93C2D1"/>
        </a:lt2>
        <a:accent1>
          <a:srgbClr val="255B89"/>
        </a:accent1>
        <a:accent2>
          <a:srgbClr val="AAA19A"/>
        </a:accent2>
        <a:accent3>
          <a:srgbClr val="FFFFFF"/>
        </a:accent3>
        <a:accent4>
          <a:srgbClr val="000000"/>
        </a:accent4>
        <a:accent5>
          <a:srgbClr val="ACB5C4"/>
        </a:accent5>
        <a:accent6>
          <a:srgbClr val="9A918B"/>
        </a:accent6>
        <a:hlink>
          <a:srgbClr val="DCEBEF"/>
        </a:hlink>
        <a:folHlink>
          <a:srgbClr val="56A2B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05</TotalTime>
  <Words>981</Words>
  <Application>Microsoft Office PowerPoint</Application>
  <PresentationFormat>On-screen Show (4:3)</PresentationFormat>
  <Paragraphs>242</Paragraphs>
  <Slides>15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Credit Suisse Type Light</vt:lpstr>
      <vt:lpstr>Credit Suisse Type Roman</vt:lpstr>
      <vt:lpstr>Verdana</vt:lpstr>
      <vt:lpstr>Wingdings</vt:lpstr>
      <vt:lpstr>transition</vt:lpstr>
      <vt:lpstr>think-cell Slide</vt:lpstr>
      <vt:lpstr>Trash bins – The ideal route CAS Machine Intelligen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omaly/Outlier detection financial accounting data CAS Statistical Modeling</dc:title>
  <dc:creator>Hunkeler Bruno</dc:creator>
  <cp:lastModifiedBy>Hunkeler Bruno</cp:lastModifiedBy>
  <cp:revision>8</cp:revision>
  <dcterms:created xsi:type="dcterms:W3CDTF">2020-07-12T13:54:03Z</dcterms:created>
  <dcterms:modified xsi:type="dcterms:W3CDTF">2021-01-14T14:27:29Z</dcterms:modified>
</cp:coreProperties>
</file>